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1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1" r:id="rId1"/>
    <p:sldMasterId id="2147483653" r:id="rId2"/>
    <p:sldMasterId id="2147483659" r:id="rId3"/>
    <p:sldMasterId id="2147483807" r:id="rId4"/>
    <p:sldMasterId id="2147483826" r:id="rId5"/>
    <p:sldMasterId id="2147483840" r:id="rId6"/>
    <p:sldMasterId id="2147483853" r:id="rId7"/>
    <p:sldMasterId id="2147483877" r:id="rId8"/>
    <p:sldMasterId id="2147483891" r:id="rId9"/>
    <p:sldMasterId id="2147483900" r:id="rId10"/>
    <p:sldMasterId id="2147483914" r:id="rId11"/>
    <p:sldMasterId id="2147483927" r:id="rId12"/>
    <p:sldMasterId id="2147483941" r:id="rId13"/>
  </p:sldMasterIdLst>
  <p:notesMasterIdLst>
    <p:notesMasterId r:id="rId16"/>
  </p:notesMasterIdLst>
  <p:handoutMasterIdLst>
    <p:handoutMasterId r:id="rId17"/>
  </p:handoutMasterIdLst>
  <p:sldIdLst>
    <p:sldId id="304" r:id="rId14"/>
    <p:sldId id="2147374124" r:id="rId15"/>
  </p:sldIdLst>
  <p:sldSz cx="6858000" cy="9144000" type="screen4x3"/>
  <p:notesSz cx="9296400" cy="6881813"/>
  <p:custDataLst>
    <p:tags r:id="rId18"/>
  </p:custDataLst>
  <p:defaultTextStyle>
    <a:defPPr>
      <a:defRPr lang="en-US"/>
    </a:defPPr>
    <a:lvl1pPr algn="l" rtl="0" fontAlgn="base">
      <a:spcBef>
        <a:spcPct val="50000"/>
      </a:spcBef>
      <a:spcAft>
        <a:spcPct val="0"/>
      </a:spcAft>
      <a:buFont typeface="Webdings" pitchFamily="18" charset="2"/>
      <a:buChar char="ñ"/>
      <a:defRPr sz="1600" b="1" kern="1200">
        <a:solidFill>
          <a:schemeClr val="tx1"/>
        </a:solidFill>
        <a:latin typeface="Arial" charset="0"/>
        <a:ea typeface="MS PGothic" pitchFamily="34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buFont typeface="Webdings" pitchFamily="18" charset="2"/>
      <a:buChar char="ñ"/>
      <a:defRPr sz="1600" b="1"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buFont typeface="Webdings" pitchFamily="18" charset="2"/>
      <a:buChar char="ñ"/>
      <a:defRPr sz="1600" b="1"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buFont typeface="Webdings" pitchFamily="18" charset="2"/>
      <a:buChar char="ñ"/>
      <a:defRPr sz="1600" b="1"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buFont typeface="Webdings" pitchFamily="18" charset="2"/>
      <a:buChar char="ñ"/>
      <a:defRPr sz="1600" b="1"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16">
          <p15:clr>
            <a:srgbClr val="A4A3A4"/>
          </p15:clr>
        </p15:guide>
        <p15:guide id="2" pos="220">
          <p15:clr>
            <a:srgbClr val="A4A3A4"/>
          </p15:clr>
        </p15:guide>
        <p15:guide id="3" pos="41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rbridge, Michael" initials="CM" lastIdx="0" clrIdx="0">
    <p:extLst>
      <p:ext uri="{19B8F6BF-5375-455C-9EA6-DF929625EA0E}">
        <p15:presenceInfo xmlns:p15="http://schemas.microsoft.com/office/powerpoint/2012/main" userId="S::michael.corbridge@delta.com::41396443-3b90-45f9-a460-3fb934582b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CDD3"/>
    <a:srgbClr val="E7E8EA"/>
    <a:srgbClr val="FF0000"/>
    <a:srgbClr val="B0EF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6357" autoAdjust="0"/>
  </p:normalViewPr>
  <p:slideViewPr>
    <p:cSldViewPr snapToGrid="0">
      <p:cViewPr varScale="1">
        <p:scale>
          <a:sx n="86" d="100"/>
          <a:sy n="86" d="100"/>
        </p:scale>
        <p:origin x="2868" y="96"/>
      </p:cViewPr>
      <p:guideLst>
        <p:guide orient="horz" pos="1316"/>
        <p:guide pos="220"/>
        <p:guide pos="410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1" d="100"/>
          <a:sy n="111" d="100"/>
        </p:scale>
        <p:origin x="157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tags" Target="tags/tag1.xml"/><Relationship Id="rId26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handoutMaster" Target="handoutMasters/handoutMaster1.xml"/><Relationship Id="rId25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sposito, Marc" userId="52990823-46e6-4b9b-90ba-b14747d2c773" providerId="ADAL" clId="{9266B906-6752-4457-8793-695B7221DB29}"/>
    <pc:docChg chg="modSld">
      <pc:chgData name="Esposito, Marc" userId="52990823-46e6-4b9b-90ba-b14747d2c773" providerId="ADAL" clId="{9266B906-6752-4457-8793-695B7221DB29}" dt="2023-04-25T12:46:56.365" v="1" actId="20577"/>
      <pc:docMkLst>
        <pc:docMk/>
      </pc:docMkLst>
      <pc:sldChg chg="modSp mod">
        <pc:chgData name="Esposito, Marc" userId="52990823-46e6-4b9b-90ba-b14747d2c773" providerId="ADAL" clId="{9266B906-6752-4457-8793-695B7221DB29}" dt="2023-04-25T12:46:56.365" v="1" actId="20577"/>
        <pc:sldMkLst>
          <pc:docMk/>
          <pc:sldMk cId="60261116" sldId="304"/>
        </pc:sldMkLst>
        <pc:spChg chg="mod">
          <ac:chgData name="Esposito, Marc" userId="52990823-46e6-4b9b-90ba-b14747d2c773" providerId="ADAL" clId="{9266B906-6752-4457-8793-695B7221DB29}" dt="2023-04-25T12:46:56.365" v="1" actId="20577"/>
          <ac:spMkLst>
            <pc:docMk/>
            <pc:sldMk cId="60261116" sldId="304"/>
            <ac:spMk id="4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4027488" cy="342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8" tIns="46518" rIns="93028" bIns="46518" numCol="1" anchor="t" anchorCtr="0" compatLnSpc="1">
            <a:prstTxWarp prst="textNoShape">
              <a:avLst/>
            </a:prstTxWarp>
          </a:bodyPr>
          <a:lstStyle>
            <a:lvl1pPr defTabSz="931765">
              <a:spcBef>
                <a:spcPct val="0"/>
              </a:spcBef>
              <a:buFontTx/>
              <a:buNone/>
              <a:defRPr sz="1200" b="0"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88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265754" y="1"/>
            <a:ext cx="4029075" cy="342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8" tIns="46518" rIns="93028" bIns="46518" numCol="1" anchor="t" anchorCtr="0" compatLnSpc="1">
            <a:prstTxWarp prst="textNoShape">
              <a:avLst/>
            </a:prstTxWarp>
          </a:bodyPr>
          <a:lstStyle>
            <a:lvl1pPr algn="r" defTabSz="931765">
              <a:spcBef>
                <a:spcPct val="0"/>
              </a:spcBef>
              <a:buFontTx/>
              <a:buNone/>
              <a:defRPr sz="1200" b="0"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885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37412"/>
            <a:ext cx="4027488" cy="342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8" tIns="46518" rIns="93028" bIns="46518" numCol="1" anchor="b" anchorCtr="0" compatLnSpc="1">
            <a:prstTxWarp prst="textNoShape">
              <a:avLst/>
            </a:prstTxWarp>
          </a:bodyPr>
          <a:lstStyle>
            <a:lvl1pPr defTabSz="931765">
              <a:spcBef>
                <a:spcPct val="0"/>
              </a:spcBef>
              <a:buFontTx/>
              <a:buNone/>
              <a:defRPr sz="1200" b="0"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88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265754" y="6537412"/>
            <a:ext cx="4029075" cy="342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8" tIns="46518" rIns="93028" bIns="46518" numCol="1" anchor="b" anchorCtr="0" compatLnSpc="1">
            <a:prstTxWarp prst="textNoShape">
              <a:avLst/>
            </a:prstTxWarp>
          </a:bodyPr>
          <a:lstStyle>
            <a:lvl1pPr algn="r" defTabSz="931765">
              <a:spcBef>
                <a:spcPct val="0"/>
              </a:spcBef>
              <a:buFontTx/>
              <a:buNone/>
              <a:defRPr sz="1200" b="0">
                <a:ea typeface="+mn-ea"/>
              </a:defRPr>
            </a:lvl1pPr>
          </a:lstStyle>
          <a:p>
            <a:pPr>
              <a:defRPr/>
            </a:pPr>
            <a:fld id="{E7B241EE-5E46-44C6-B171-B23D0EDD696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9132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4027488" cy="342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8" tIns="46518" rIns="93028" bIns="46518" numCol="1" anchor="t" anchorCtr="0" compatLnSpc="1">
            <a:prstTxWarp prst="textNoShape">
              <a:avLst/>
            </a:prstTxWarp>
          </a:bodyPr>
          <a:lstStyle>
            <a:lvl1pPr defTabSz="931765">
              <a:spcBef>
                <a:spcPct val="0"/>
              </a:spcBef>
              <a:buFontTx/>
              <a:buNone/>
              <a:defRPr sz="1200" b="0"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265754" y="1"/>
            <a:ext cx="4029075" cy="342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8" tIns="46518" rIns="93028" bIns="46518" numCol="1" anchor="t" anchorCtr="0" compatLnSpc="1">
            <a:prstTxWarp prst="textNoShape">
              <a:avLst/>
            </a:prstTxWarp>
          </a:bodyPr>
          <a:lstStyle>
            <a:lvl1pPr algn="r" defTabSz="931765">
              <a:spcBef>
                <a:spcPct val="0"/>
              </a:spcBef>
              <a:buFontTx/>
              <a:buNone/>
              <a:defRPr sz="1200" b="0"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45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684588" y="517525"/>
            <a:ext cx="1936750" cy="2581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65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8704" y="3267927"/>
            <a:ext cx="7439025" cy="309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8" tIns="46518" rIns="93028" bIns="465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65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537412"/>
            <a:ext cx="4027488" cy="342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8" tIns="46518" rIns="93028" bIns="46518" numCol="1" anchor="b" anchorCtr="0" compatLnSpc="1">
            <a:prstTxWarp prst="textNoShape">
              <a:avLst/>
            </a:prstTxWarp>
          </a:bodyPr>
          <a:lstStyle>
            <a:lvl1pPr defTabSz="931765">
              <a:spcBef>
                <a:spcPct val="0"/>
              </a:spcBef>
              <a:buFontTx/>
              <a:buNone/>
              <a:defRPr sz="1200" b="0"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65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265754" y="6537412"/>
            <a:ext cx="4029075" cy="342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28" tIns="46518" rIns="93028" bIns="46518" numCol="1" anchor="b" anchorCtr="0" compatLnSpc="1">
            <a:prstTxWarp prst="textNoShape">
              <a:avLst/>
            </a:prstTxWarp>
          </a:bodyPr>
          <a:lstStyle>
            <a:lvl1pPr algn="r" defTabSz="931765">
              <a:spcBef>
                <a:spcPct val="0"/>
              </a:spcBef>
              <a:buFontTx/>
              <a:buNone/>
              <a:defRPr sz="1200" b="0">
                <a:ea typeface="+mn-ea"/>
              </a:defRPr>
            </a:lvl1pPr>
          </a:lstStyle>
          <a:p>
            <a:pPr>
              <a:defRPr/>
            </a:pPr>
            <a:fld id="{3D0F4DFF-28C3-4A79-B935-10F75DF799A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9462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97100" y="696913"/>
            <a:ext cx="2616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buClr>
                <a:prstClr val="black"/>
              </a:buClr>
              <a:defRPr/>
            </a:pPr>
            <a:fld id="{4EB9411F-C6A7-4599-AC48-9831A038D537}" type="slidenum">
              <a:rPr lang="en-US" smtClean="0">
                <a:solidFill>
                  <a:prstClr val="black"/>
                </a:solidFill>
              </a:rPr>
              <a:pPr>
                <a:buClr>
                  <a:prstClr val="black"/>
                </a:buClr>
                <a:defRPr/>
              </a:pPr>
              <a:t>0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dal_super_k-w"/>
          <p:cNvPicPr>
            <a:picLocks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697538"/>
            <a:ext cx="4487863" cy="344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" descr="Delta_k_r_st [Converted]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29125" y="8607425"/>
            <a:ext cx="2216150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2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533400"/>
            <a:ext cx="6172200" cy="1727200"/>
          </a:xfrm>
          <a:noFill/>
        </p:spPr>
        <p:txBody>
          <a:bodyPr lIns="0" tIns="0" rIns="0" bIns="0" anchor="t"/>
          <a:lstStyle>
            <a:lvl1pPr algn="l">
              <a:defRPr sz="3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52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311400"/>
            <a:ext cx="6172200" cy="812800"/>
          </a:xfrm>
        </p:spPr>
        <p:txBody>
          <a:bodyPr/>
          <a:lstStyle>
            <a:lvl1pPr marL="0" indent="0">
              <a:buFont typeface="Times" pitchFamily="18" charset="0"/>
              <a:buNone/>
              <a:defRPr sz="12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2D4F97-C85E-477B-9E03-727688C923F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205874-E0EA-471C-8627-0A9C7167430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54127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533400"/>
            <a:ext cx="6172200" cy="1727200"/>
          </a:xfrm>
          <a:noFill/>
        </p:spPr>
        <p:txBody>
          <a:bodyPr lIns="0" tIns="0" rIns="0" bIns="0" anchor="t"/>
          <a:lstStyle>
            <a:lvl1pPr algn="l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311400"/>
            <a:ext cx="6172200" cy="812800"/>
          </a:xfrm>
        </p:spPr>
        <p:txBody>
          <a:bodyPr/>
          <a:lstStyle>
            <a:lvl1pPr marL="0" indent="0">
              <a:buFont typeface="Times" pitchFamily="18" charset="0"/>
              <a:buNone/>
              <a:defRPr sz="12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3081" name="Picture 9" descr="Delta_k_r_st [Converted]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38613" y="8545513"/>
            <a:ext cx="2351087" cy="312737"/>
          </a:xfrm>
          <a:prstGeom prst="rect">
            <a:avLst/>
          </a:prstGeom>
          <a:noFill/>
        </p:spPr>
      </p:pic>
      <p:pic>
        <p:nvPicPr>
          <p:cNvPr id="3082" name="Picture 10" descr="dal_super_k-w"/>
          <p:cNvPicPr>
            <a:picLocks noChangeArrowheads="1"/>
          </p:cNvPicPr>
          <p:nvPr/>
        </p:nvPicPr>
        <p:blipFill>
          <a:blip r:embed="rId3" cstate="print">
            <a:clrChange>
              <a:clrFrom>
                <a:srgbClr val="666666"/>
              </a:clrFrom>
              <a:clrTo>
                <a:srgbClr val="666666">
                  <a:alpha val="0"/>
                </a:srgbClr>
              </a:clrTo>
            </a:clrChange>
          </a:blip>
          <a:srcRect b="3076"/>
          <a:stretch>
            <a:fillRect/>
          </a:stretch>
        </p:blipFill>
        <p:spPr bwMode="auto">
          <a:xfrm>
            <a:off x="0" y="5481638"/>
            <a:ext cx="3890963" cy="3662362"/>
          </a:xfrm>
          <a:prstGeom prst="rect">
            <a:avLst/>
          </a:prstGeom>
          <a:solidFill>
            <a:srgbClr val="333333">
              <a:alpha val="77000"/>
            </a:srgbClr>
          </a:solidFill>
        </p:spPr>
      </p:pic>
    </p:spTree>
    <p:extLst>
      <p:ext uri="{BB962C8B-B14F-4D97-AF65-F5344CB8AC3E}">
        <p14:creationId xmlns:p14="http://schemas.microsoft.com/office/powerpoint/2010/main" val="265973286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Delta_k_r_st [Converted]"/>
          <p:cNvPicPr>
            <a:picLocks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8613" y="8545513"/>
            <a:ext cx="2351087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0" descr="dal_super_k-w"/>
          <p:cNvPicPr>
            <a:picLocks noChangeArrowheads="1"/>
          </p:cNvPicPr>
          <p:nvPr/>
        </p:nvPicPr>
        <p:blipFill>
          <a:blip r:embed="rId3" cstate="screen">
            <a:clrChange>
              <a:clrFrom>
                <a:srgbClr val="666666"/>
              </a:clrFrom>
              <a:clrTo>
                <a:srgbClr val="66666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481638"/>
            <a:ext cx="3890963" cy="3662362"/>
          </a:xfrm>
          <a:prstGeom prst="rect">
            <a:avLst/>
          </a:prstGeom>
          <a:solidFill>
            <a:srgbClr val="333333">
              <a:alpha val="76862"/>
            </a:srgbClr>
          </a:solidFill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533400"/>
            <a:ext cx="6172200" cy="1727200"/>
          </a:xfrm>
          <a:noFill/>
        </p:spPr>
        <p:txBody>
          <a:bodyPr lIns="0" tIns="0" rIns="0" bIns="0" anchor="t"/>
          <a:lstStyle>
            <a:lvl1pPr algn="l"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311400"/>
            <a:ext cx="6172200" cy="812800"/>
          </a:xfrm>
        </p:spPr>
        <p:txBody>
          <a:bodyPr/>
          <a:lstStyle>
            <a:lvl1pPr marL="0" indent="0">
              <a:buFont typeface="Times" pitchFamily="18" charset="0"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62080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400050" indent="-171450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BA4EF0-711A-4673-8300-CA76EFC60C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74300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E4987E-DA8D-46B4-95C4-5EA87F4747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34300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903288"/>
            <a:ext cx="3009900" cy="7469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55440B-3FF8-4F41-A062-F5D7BDFBA8E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61395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F41AC2-E16E-427C-9085-472231386D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8236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AC4969-D850-4229-95DE-29350A7396B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46430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3B0E3D-FD7C-4F0C-B492-BCEA85AC8C7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95417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98D5D-EC3B-44B7-B91D-F56F36F054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7403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366713"/>
            <a:ext cx="1543050" cy="61753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366713"/>
            <a:ext cx="4476750" cy="61753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C25016-FED9-498D-BF6E-FC150076CAF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2E5104-1082-44C0-A097-3196FB1E088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923696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5F5465-CA08-4E4E-9DB8-BCF0B72622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775321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06375"/>
            <a:ext cx="1543050" cy="8166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06375"/>
            <a:ext cx="4476750" cy="8166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E7D51-667B-4530-9190-D44427B20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75275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6375"/>
            <a:ext cx="6172200" cy="5651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780A0C-60CB-403A-A046-6EE3EC7969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169320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6375"/>
            <a:ext cx="6172200" cy="5651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3505200" y="903288"/>
            <a:ext cx="300990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3505200" y="4713288"/>
            <a:ext cx="3009900" cy="365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496050" y="8763000"/>
            <a:ext cx="276225" cy="29368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17AF8D2-D8A1-4A4B-9052-478C2464D7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93607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22149" name="Picture 5" descr="Delta_k_r_st [Converted]"/>
          <p:cNvPicPr>
            <a:picLocks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56113" y="8520113"/>
            <a:ext cx="2084387" cy="274637"/>
          </a:xfrm>
          <a:prstGeom prst="rect">
            <a:avLst/>
          </a:prstGeom>
          <a:noFill/>
        </p:spPr>
      </p:pic>
      <p:sp>
        <p:nvSpPr>
          <p:cNvPr id="28221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42900" y="1422400"/>
            <a:ext cx="6172200" cy="1727200"/>
          </a:xfrm>
          <a:noFill/>
        </p:spPr>
        <p:txBody>
          <a:bodyPr lIns="0" tIns="0" rIns="0" bIns="0" anchor="t"/>
          <a:lstStyle>
            <a:lvl1pPr algn="l">
              <a:defRPr sz="3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22151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342900" y="3352800"/>
            <a:ext cx="6172200" cy="812800"/>
          </a:xfrm>
        </p:spPr>
        <p:txBody>
          <a:bodyPr/>
          <a:lstStyle>
            <a:lvl1pPr marL="0" indent="0">
              <a:buFont typeface="Times" pitchFamily="18" charset="0"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822152" name="Picture 8" descr="dal_super_k-w"/>
          <p:cNvPicPr>
            <a:picLocks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697538"/>
            <a:ext cx="4487863" cy="34464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252673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083B62A-DC45-42EA-8713-18BA1F39D09B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614123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200" baseline="0"/>
            </a:lvl1pPr>
          </a:lstStyle>
          <a:p>
            <a:fld id="{D1BEDBA3-E9B2-4F94-A644-39DDD64E760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80133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055688"/>
            <a:ext cx="3009900" cy="5486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1055688"/>
            <a:ext cx="3009900" cy="5486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D2F68C4-1AFB-490E-9B04-65E32007938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07980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BB5F8D0-AD96-4694-8464-A05090B9C7D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927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42900" y="366713"/>
            <a:ext cx="6172200" cy="571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42900" y="1055688"/>
            <a:ext cx="3009900" cy="2667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3505200" y="1055688"/>
            <a:ext cx="3009900" cy="2667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342900" y="3875088"/>
            <a:ext cx="3009900" cy="2667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505200" y="3875088"/>
            <a:ext cx="3009900" cy="2667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D2C81C-8D80-4ACE-A57E-E06B71766D8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5715D03-C0CD-4ABF-A639-67057315B48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00727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CA290BD-ED4E-41CD-83B1-47B6CE56CDB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98832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039C479-789C-4490-9DA5-DBDE83CF0FB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2451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6C64055-4C95-4B77-B016-36D0DDFD37C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56937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A6D17CC-5F2B-45BF-9DDD-6EC4D1B3A69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89292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366713"/>
            <a:ext cx="1543050" cy="61753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366713"/>
            <a:ext cx="4476750" cy="61753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5B44825-39D6-4612-87FC-675709CCB89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22136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571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42900" y="1055688"/>
            <a:ext cx="6172200" cy="5486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96050" y="8763000"/>
            <a:ext cx="276225" cy="293688"/>
          </a:xfrm>
        </p:spPr>
        <p:txBody>
          <a:bodyPr/>
          <a:lstStyle>
            <a:lvl1pPr>
              <a:defRPr/>
            </a:lvl1pPr>
          </a:lstStyle>
          <a:p>
            <a:fld id="{217EB33B-63DD-4AE2-BE2B-302116BBEF7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81654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Delta_k_r_st [Converted]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38613" y="8545513"/>
            <a:ext cx="2351087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0" descr="dal_super_k-w"/>
          <p:cNvPicPr>
            <a:picLocks noChangeArrowheads="1"/>
          </p:cNvPicPr>
          <p:nvPr/>
        </p:nvPicPr>
        <p:blipFill>
          <a:blip r:embed="rId3" cstate="print">
            <a:clrChange>
              <a:clrFrom>
                <a:srgbClr val="666666"/>
              </a:clrFrom>
              <a:clrTo>
                <a:srgbClr val="666666">
                  <a:alpha val="0"/>
                </a:srgbClr>
              </a:clrTo>
            </a:clrChange>
          </a:blip>
          <a:srcRect b="3076"/>
          <a:stretch>
            <a:fillRect/>
          </a:stretch>
        </p:blipFill>
        <p:spPr bwMode="auto">
          <a:xfrm>
            <a:off x="0" y="5481638"/>
            <a:ext cx="3890963" cy="3662362"/>
          </a:xfrm>
          <a:prstGeom prst="rect">
            <a:avLst/>
          </a:prstGeom>
          <a:solidFill>
            <a:srgbClr val="333333">
              <a:alpha val="76862"/>
            </a:srgbClr>
          </a:solidFill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533400"/>
            <a:ext cx="6172200" cy="1727200"/>
          </a:xfrm>
          <a:noFill/>
        </p:spPr>
        <p:txBody>
          <a:bodyPr lIns="0" tIns="0" rIns="0" bIns="0" anchor="t"/>
          <a:lstStyle>
            <a:lvl1pPr algn="l"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311400"/>
            <a:ext cx="6172200" cy="812800"/>
          </a:xfrm>
        </p:spPr>
        <p:txBody>
          <a:bodyPr/>
          <a:lstStyle>
            <a:lvl1pPr marL="0" indent="0">
              <a:buFont typeface="Times" pitchFamily="18" charset="0"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2847909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400050" indent="-171450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BA4EF0-711A-4673-8300-CA76EFC60C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77171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E4987E-DA8D-46B4-95C4-5EA87F4747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3037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571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055688"/>
            <a:ext cx="3009900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3505200" y="1055688"/>
            <a:ext cx="3009900" cy="2667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3505200" y="3875088"/>
            <a:ext cx="3009900" cy="2667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448923-F7C2-45BC-AD84-F4AE907D76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903288"/>
            <a:ext cx="3009900" cy="7469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55440B-3FF8-4F41-A062-F5D7BDFBA8E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63296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F41AC2-E16E-427C-9085-472231386D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08606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AC4969-D850-4229-95DE-29350A7396B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87564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3B0E3D-FD7C-4F0C-B492-BCEA85AC8C7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71174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98D5D-EC3B-44B7-B91D-F56F36F054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06874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2E5104-1082-44C0-A097-3196FB1E088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05791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5F5465-CA08-4E4E-9DB8-BCF0B72622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14469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06375"/>
            <a:ext cx="1543050" cy="8166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06375"/>
            <a:ext cx="4476750" cy="8166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E7D51-667B-4530-9190-D44427B20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59656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6375"/>
            <a:ext cx="6172200" cy="5651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780A0C-60CB-403A-A046-6EE3EC7969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14297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6375"/>
            <a:ext cx="6172200" cy="5651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3505200" y="903288"/>
            <a:ext cx="300990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3505200" y="4713288"/>
            <a:ext cx="3009900" cy="365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496050" y="8763000"/>
            <a:ext cx="276225" cy="29368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17AF8D2-D8A1-4A4B-9052-478C2464D7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8889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dal_super_k-w"/>
          <p:cNvPicPr>
            <a:picLocks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697538"/>
            <a:ext cx="4487863" cy="344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" descr="Delta_k_r_st [Converted]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29125" y="8607425"/>
            <a:ext cx="2216150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34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533400"/>
            <a:ext cx="6172200" cy="1727200"/>
          </a:xfrm>
          <a:noFill/>
        </p:spPr>
        <p:txBody>
          <a:bodyPr lIns="0" tIns="0" rIns="0" bIns="0" anchor="t"/>
          <a:lstStyle>
            <a:lvl1pPr algn="l">
              <a:defRPr sz="3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34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311400"/>
            <a:ext cx="6172200" cy="812800"/>
          </a:xfrm>
        </p:spPr>
        <p:txBody>
          <a:bodyPr/>
          <a:lstStyle>
            <a:lvl1pPr marL="0" indent="0">
              <a:buFont typeface="Times" pitchFamily="18" charset="0"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Delta_k_r_st [Converted]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38613" y="8545513"/>
            <a:ext cx="2351087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6" descr="dal_super_k-w"/>
          <p:cNvPicPr>
            <a:picLocks noChangeArrowheads="1"/>
          </p:cNvPicPr>
          <p:nvPr/>
        </p:nvPicPr>
        <p:blipFill>
          <a:blip r:embed="rId3" cstate="print">
            <a:clrChange>
              <a:clrFrom>
                <a:srgbClr val="666666"/>
              </a:clrFrom>
              <a:clrTo>
                <a:srgbClr val="666666">
                  <a:alpha val="0"/>
                </a:srgbClr>
              </a:clrTo>
            </a:clrChange>
          </a:blip>
          <a:srcRect b="3076"/>
          <a:stretch>
            <a:fillRect/>
          </a:stretch>
        </p:blipFill>
        <p:spPr bwMode="auto">
          <a:xfrm>
            <a:off x="0" y="5481638"/>
            <a:ext cx="3890963" cy="3662362"/>
          </a:xfrm>
          <a:prstGeom prst="rect">
            <a:avLst/>
          </a:prstGeom>
          <a:solidFill>
            <a:srgbClr val="333333">
              <a:alpha val="76862"/>
            </a:srgbClr>
          </a:solidFill>
          <a:ln w="9525">
            <a:noFill/>
            <a:miter lim="800000"/>
            <a:headEnd/>
            <a:tailEnd/>
          </a:ln>
        </p:spPr>
      </p:pic>
      <p:sp>
        <p:nvSpPr>
          <p:cNvPr id="10035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42900" y="1065213"/>
            <a:ext cx="6172200" cy="1195387"/>
          </a:xfrm>
          <a:noFill/>
        </p:spPr>
        <p:txBody>
          <a:bodyPr lIns="0" tIns="0" rIns="0" bIns="0" anchor="t"/>
          <a:lstStyle>
            <a:lvl1pPr algn="l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570163"/>
            <a:ext cx="6172200" cy="985837"/>
          </a:xfrm>
        </p:spPr>
        <p:txBody>
          <a:bodyPr/>
          <a:lstStyle>
            <a:lvl1pPr marL="0" indent="0">
              <a:spcBef>
                <a:spcPct val="0"/>
              </a:spcBef>
              <a:buFont typeface="Times" pitchFamily="18" charset="0"/>
              <a:buNone/>
              <a:defRPr sz="20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8045539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9696F5-CB3D-4180-973F-61105B7CFD6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96403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241598-29E9-40F5-9FB4-F01D6C89FD1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41232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055688"/>
            <a:ext cx="3009900" cy="7469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1055688"/>
            <a:ext cx="3009900" cy="7469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7E28A7-5F24-44F1-B478-22AF451086C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30789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0E1F32-4470-4A4E-90F0-541055B6CE3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55762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E925DA-9F00-42D2-91E5-1C362B31F97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52121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D5E26D-72E8-4ACC-87AC-8B7A15915C5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11935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BBC953-E1FE-4D7E-8281-3C113594A0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78633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9EA5A-FB46-426C-9204-F8BFEB3106A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69519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D4D98D-2447-4CB7-83BA-B14B68FB5A3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5507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86F1C4-615F-4540-990C-EB838ADAD25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366713"/>
            <a:ext cx="1543050" cy="81581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366713"/>
            <a:ext cx="4476750" cy="81581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D3BB1C-BF68-4265-831D-069AE3CAEFA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96997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571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42900" y="1055688"/>
            <a:ext cx="6172200" cy="7469187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5ADBF0-D7DB-4056-A4C8-267CEBA59FE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3563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ACBE52-0AF2-41C5-87B1-951A9D8062D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055688"/>
            <a:ext cx="3009900" cy="5486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1055688"/>
            <a:ext cx="3009900" cy="5486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1C92F2-6E64-4314-ADFC-C154A8121DA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5C847E-FBDD-4E9A-9289-EFEA80AB29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20DF37-3011-46F2-9A5D-39E3B724162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852446-F64D-49AD-90B5-61761F6C564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EF1D7-D698-46D5-B47E-1D71CF3053F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AE84D5-E237-440B-8BD0-A0A06A31F1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5EF6C-CD38-4088-9D30-46DCA38D9BF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10D5C-E0A6-49D6-B237-5CA94EAD165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366713"/>
            <a:ext cx="1543050" cy="61753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366713"/>
            <a:ext cx="4476750" cy="61753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0F8408-A97E-4A02-9C9C-8C17333C40E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dal_super_k-w"/>
          <p:cNvPicPr>
            <a:picLocks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697538"/>
            <a:ext cx="4487863" cy="344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" descr="Delta_k_r_st [Converted]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29125" y="8607425"/>
            <a:ext cx="2216150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52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533400"/>
            <a:ext cx="6172200" cy="1727200"/>
          </a:xfrm>
          <a:noFill/>
        </p:spPr>
        <p:txBody>
          <a:bodyPr lIns="0" tIns="0" rIns="0" bIns="0" anchor="t"/>
          <a:lstStyle>
            <a:lvl1pPr algn="l">
              <a:defRPr sz="3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52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311400"/>
            <a:ext cx="6172200" cy="812800"/>
          </a:xfrm>
        </p:spPr>
        <p:txBody>
          <a:bodyPr/>
          <a:lstStyle>
            <a:lvl1pPr marL="0" indent="0">
              <a:buFont typeface="Times" pitchFamily="18" charset="0"/>
              <a:buNone/>
              <a:defRPr sz="12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348A5E-AA82-4091-9B5F-1F6152C225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48A5BA-197B-4B1F-81B0-472217FEEC2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055688"/>
            <a:ext cx="3009900" cy="5486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1055688"/>
            <a:ext cx="3009900" cy="5486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1BD631-3F1F-422B-8C6C-F53B7C09303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0A2F46-A2E8-42EF-AEAE-5C022AAEA06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D7BCFD-CB76-41A5-A80F-273292E9E0D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E9E18B-2F83-42D8-A269-82C52832389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E6CDB5-C98D-4476-8850-85FFC16B956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E1DAB4-D735-42C8-AE0B-3E1DA5BFA10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865164-6CBE-474B-A2E3-F9C14E8C4E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5E6877-5282-42F0-A536-F9086EEB405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366713"/>
            <a:ext cx="1543050" cy="61753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366713"/>
            <a:ext cx="4476750" cy="61753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940572-35DB-4AC4-8CDF-39A771D99FF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Delta_k_r_st [Converted]"/>
          <p:cNvPicPr>
            <a:picLocks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8613" y="8545513"/>
            <a:ext cx="2351087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0" descr="dal_super_k-w"/>
          <p:cNvPicPr>
            <a:picLocks noChangeArrowheads="1"/>
          </p:cNvPicPr>
          <p:nvPr/>
        </p:nvPicPr>
        <p:blipFill>
          <a:blip r:embed="rId3" cstate="screen">
            <a:clrChange>
              <a:clrFrom>
                <a:srgbClr val="666666"/>
              </a:clrFrom>
              <a:clrTo>
                <a:srgbClr val="66666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481638"/>
            <a:ext cx="3890963" cy="3662362"/>
          </a:xfrm>
          <a:prstGeom prst="rect">
            <a:avLst/>
          </a:prstGeom>
          <a:solidFill>
            <a:srgbClr val="333333">
              <a:alpha val="76862"/>
            </a:srgbClr>
          </a:solidFill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533400"/>
            <a:ext cx="6172200" cy="1727200"/>
          </a:xfrm>
          <a:noFill/>
        </p:spPr>
        <p:txBody>
          <a:bodyPr lIns="0" tIns="0" rIns="0" bIns="0" anchor="t"/>
          <a:lstStyle>
            <a:lvl1pPr algn="l"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311400"/>
            <a:ext cx="6172200" cy="812800"/>
          </a:xfrm>
        </p:spPr>
        <p:txBody>
          <a:bodyPr/>
          <a:lstStyle>
            <a:lvl1pPr marL="0" indent="0">
              <a:buFont typeface="Times" pitchFamily="18" charset="0"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496050" y="8763000"/>
            <a:ext cx="276225" cy="2936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BA4EF0-711A-4673-8300-CA76EFC60C2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8172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BA4EF0-711A-4673-8300-CA76EFC60C2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616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E4987E-DA8D-46B4-95C4-5EA87F47477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0724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903288"/>
            <a:ext cx="3009900" cy="7469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55440B-3FF8-4F41-A062-F5D7BDFBA8E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4862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055688"/>
            <a:ext cx="3009900" cy="5486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1055688"/>
            <a:ext cx="3009900" cy="5486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94C9BF-E280-4529-9DE5-29EA4F4B423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F41AC2-E16E-427C-9085-472231386D8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938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AC4969-D850-4229-95DE-29350A7396B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4917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3B0E3D-FD7C-4F0C-B492-BCEA85AC8C7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1568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98D5D-EC3B-44B7-B91D-F56F36F0544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5995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2E5104-1082-44C0-A097-3196FB1E088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3056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5F5465-CA08-4E4E-9DB8-BCF0B72622D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2120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06375"/>
            <a:ext cx="1543050" cy="8166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06375"/>
            <a:ext cx="4476750" cy="8166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E7D51-667B-4530-9190-D44427B20C4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3185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6375"/>
            <a:ext cx="6172200" cy="5651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780A0C-60CB-403A-A046-6EE3EC79691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634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6375"/>
            <a:ext cx="6172200" cy="5651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3505200" y="903288"/>
            <a:ext cx="300990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3505200" y="4713288"/>
            <a:ext cx="3009900" cy="365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496050" y="8763000"/>
            <a:ext cx="276225" cy="29368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17AF8D2-D8A1-4A4B-9052-478C2464D78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72820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22149" name="Picture 5" descr="Delta_k_r_st [Converted]"/>
          <p:cNvPicPr>
            <a:picLocks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56113" y="8520113"/>
            <a:ext cx="2084387" cy="274637"/>
          </a:xfrm>
          <a:prstGeom prst="rect">
            <a:avLst/>
          </a:prstGeom>
          <a:noFill/>
        </p:spPr>
      </p:pic>
      <p:sp>
        <p:nvSpPr>
          <p:cNvPr id="28221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42900" y="1422400"/>
            <a:ext cx="6172200" cy="1727200"/>
          </a:xfrm>
          <a:noFill/>
        </p:spPr>
        <p:txBody>
          <a:bodyPr lIns="0" tIns="0" rIns="0" bIns="0" anchor="t"/>
          <a:lstStyle>
            <a:lvl1pPr algn="l">
              <a:defRPr sz="3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22151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342900" y="3352800"/>
            <a:ext cx="6172200" cy="812800"/>
          </a:xfrm>
        </p:spPr>
        <p:txBody>
          <a:bodyPr/>
          <a:lstStyle>
            <a:lvl1pPr marL="0" indent="0">
              <a:buFont typeface="Times" pitchFamily="18" charset="0"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822152" name="Picture 8" descr="dal_super_k-w"/>
          <p:cNvPicPr>
            <a:picLocks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697538"/>
            <a:ext cx="4487863" cy="34464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383014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650795-10D1-4DD5-8381-3D0B2A1B19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083B62A-DC45-42EA-8713-18BA1F39D09B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607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200" baseline="0"/>
            </a:lvl1pPr>
          </a:lstStyle>
          <a:p>
            <a:fld id="{D1BEDBA3-E9B2-4F94-A644-39DDD64E760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58356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055688"/>
            <a:ext cx="3009900" cy="5486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1055688"/>
            <a:ext cx="3009900" cy="5486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D2F68C4-1AFB-490E-9B04-65E32007938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6889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BB5F8D0-AD96-4694-8464-A05090B9C7D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189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5715D03-C0CD-4ABF-A639-67057315B48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74583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CA290BD-ED4E-41CD-83B1-47B6CE56CDB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2758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039C479-789C-4490-9DA5-DBDE83CF0FB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53070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6C64055-4C95-4B77-B016-36D0DDFD37C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46896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A6D17CC-5F2B-45BF-9DDD-6EC4D1B3A69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9686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366713"/>
            <a:ext cx="1543050" cy="61753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366713"/>
            <a:ext cx="4476750" cy="61753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5B44825-39D6-4612-87FC-675709CCB89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063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7345B2-24E4-40AA-AE70-046BD54CFE6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571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42900" y="1055688"/>
            <a:ext cx="6172200" cy="5486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96050" y="8763000"/>
            <a:ext cx="276225" cy="293688"/>
          </a:xfrm>
        </p:spPr>
        <p:txBody>
          <a:bodyPr/>
          <a:lstStyle>
            <a:lvl1pPr>
              <a:defRPr/>
            </a:lvl1pPr>
          </a:lstStyle>
          <a:p>
            <a:fld id="{217EB33B-63DD-4AE2-BE2B-302116BBEF7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25940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22149" name="Picture 5" descr="Delta_k_r_st [Converted]"/>
          <p:cNvPicPr>
            <a:picLocks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56113" y="8520113"/>
            <a:ext cx="2084387" cy="274637"/>
          </a:xfrm>
          <a:prstGeom prst="rect">
            <a:avLst/>
          </a:prstGeom>
          <a:noFill/>
        </p:spPr>
      </p:pic>
      <p:sp>
        <p:nvSpPr>
          <p:cNvPr id="28221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42900" y="1422400"/>
            <a:ext cx="6172200" cy="1727200"/>
          </a:xfrm>
          <a:noFill/>
        </p:spPr>
        <p:txBody>
          <a:bodyPr lIns="0" tIns="0" rIns="0" bIns="0" anchor="t"/>
          <a:lstStyle>
            <a:lvl1pPr algn="l">
              <a:defRPr sz="3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22151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342900" y="3352800"/>
            <a:ext cx="6172200" cy="812800"/>
          </a:xfrm>
        </p:spPr>
        <p:txBody>
          <a:bodyPr/>
          <a:lstStyle>
            <a:lvl1pPr marL="0" indent="0">
              <a:buFont typeface="Times" pitchFamily="18" charset="0"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822152" name="Picture 8" descr="dal_super_k-w"/>
          <p:cNvPicPr>
            <a:picLocks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697538"/>
            <a:ext cx="4487863" cy="34464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8707120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083B62A-DC45-42EA-8713-18BA1F39D09B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880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200" baseline="0"/>
            </a:lvl1pPr>
          </a:lstStyle>
          <a:p>
            <a:fld id="{D1BEDBA3-E9B2-4F94-A644-39DDD64E760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95662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055688"/>
            <a:ext cx="3009900" cy="5486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1055688"/>
            <a:ext cx="3009900" cy="5486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D2F68C4-1AFB-490E-9B04-65E32007938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22255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BB5F8D0-AD96-4694-8464-A05090B9C7D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0807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5715D03-C0CD-4ABF-A639-67057315B48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2227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CA290BD-ED4E-41CD-83B1-47B6CE56CDB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10628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039C479-789C-4490-9DA5-DBDE83CF0FB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8351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6C64055-4C95-4B77-B016-36D0DDFD37CE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479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4DA9A-9FA8-40DB-B7B1-0C1797D989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A6D17CC-5F2B-45BF-9DDD-6EC4D1B3A69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50934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366713"/>
            <a:ext cx="1543050" cy="61753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366713"/>
            <a:ext cx="4476750" cy="61753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5B44825-39D6-4612-87FC-675709CCB89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878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571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42900" y="1055688"/>
            <a:ext cx="6172200" cy="54864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96050" y="8763000"/>
            <a:ext cx="276225" cy="293688"/>
          </a:xfrm>
        </p:spPr>
        <p:txBody>
          <a:bodyPr/>
          <a:lstStyle>
            <a:lvl1pPr>
              <a:defRPr/>
            </a:lvl1pPr>
          </a:lstStyle>
          <a:p>
            <a:fld id="{217EB33B-63DD-4AE2-BE2B-302116BBEF7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4330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Delta_k_r_st [Converted]"/>
          <p:cNvPicPr>
            <a:picLocks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8613" y="8545513"/>
            <a:ext cx="2351087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0" descr="dal_super_k-w"/>
          <p:cNvPicPr>
            <a:picLocks noChangeArrowheads="1"/>
          </p:cNvPicPr>
          <p:nvPr/>
        </p:nvPicPr>
        <p:blipFill>
          <a:blip r:embed="rId3" cstate="screen">
            <a:clrChange>
              <a:clrFrom>
                <a:srgbClr val="666666"/>
              </a:clrFrom>
              <a:clrTo>
                <a:srgbClr val="66666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481638"/>
            <a:ext cx="3890963" cy="3662362"/>
          </a:xfrm>
          <a:prstGeom prst="rect">
            <a:avLst/>
          </a:prstGeom>
          <a:solidFill>
            <a:srgbClr val="333333">
              <a:alpha val="76862"/>
            </a:srgbClr>
          </a:solidFill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533400"/>
            <a:ext cx="6172200" cy="1727200"/>
          </a:xfrm>
          <a:noFill/>
        </p:spPr>
        <p:txBody>
          <a:bodyPr lIns="0" tIns="0" rIns="0" bIns="0" anchor="t"/>
          <a:lstStyle>
            <a:lvl1pPr algn="l"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311400"/>
            <a:ext cx="6172200" cy="812800"/>
          </a:xfrm>
        </p:spPr>
        <p:txBody>
          <a:bodyPr/>
          <a:lstStyle>
            <a:lvl1pPr marL="0" indent="0">
              <a:buFont typeface="Times" pitchFamily="18" charset="0"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4860030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400050" indent="-171450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BA4EF0-711A-4673-8300-CA76EFC60C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90659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E4987E-DA8D-46B4-95C4-5EA87F4747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30653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903288"/>
            <a:ext cx="3009900" cy="7469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55440B-3FF8-4F41-A062-F5D7BDFBA8E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95499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F41AC2-E16E-427C-9085-472231386D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94724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AC4969-D850-4229-95DE-29350A7396B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29952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3B0E3D-FD7C-4F0C-B492-BCEA85AC8C7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5915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0CE18C-274F-41A6-BD40-993A2BF2E2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98D5D-EC3B-44B7-B91D-F56F36F054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6079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2E5104-1082-44C0-A097-3196FB1E088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1099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5F5465-CA08-4E4E-9DB8-BCF0B72622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58949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06375"/>
            <a:ext cx="1543050" cy="8166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06375"/>
            <a:ext cx="4476750" cy="8166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E7D51-667B-4530-9190-D44427B20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02815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6375"/>
            <a:ext cx="6172200" cy="5651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780A0C-60CB-403A-A046-6EE3EC7969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28084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6375"/>
            <a:ext cx="6172200" cy="5651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3505200" y="903288"/>
            <a:ext cx="300990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3505200" y="4713288"/>
            <a:ext cx="3009900" cy="365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496050" y="8763000"/>
            <a:ext cx="276225" cy="29368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17AF8D2-D8A1-4A4B-9052-478C2464D7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954973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Delta_k_r_st [Converted]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38613" y="8545513"/>
            <a:ext cx="2351087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0" descr="dal_super_k-w"/>
          <p:cNvPicPr>
            <a:picLocks noChangeArrowheads="1"/>
          </p:cNvPicPr>
          <p:nvPr/>
        </p:nvPicPr>
        <p:blipFill>
          <a:blip r:embed="rId3" cstate="print">
            <a:clrChange>
              <a:clrFrom>
                <a:srgbClr val="666666"/>
              </a:clrFrom>
              <a:clrTo>
                <a:srgbClr val="666666">
                  <a:alpha val="0"/>
                </a:srgbClr>
              </a:clrTo>
            </a:clrChange>
          </a:blip>
          <a:srcRect b="3076"/>
          <a:stretch>
            <a:fillRect/>
          </a:stretch>
        </p:blipFill>
        <p:spPr bwMode="auto">
          <a:xfrm>
            <a:off x="0" y="5481638"/>
            <a:ext cx="3890963" cy="3662362"/>
          </a:xfrm>
          <a:prstGeom prst="rect">
            <a:avLst/>
          </a:prstGeom>
          <a:solidFill>
            <a:srgbClr val="333333">
              <a:alpha val="76862"/>
            </a:srgbClr>
          </a:solidFill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2900" y="533400"/>
            <a:ext cx="6172200" cy="1727200"/>
          </a:xfrm>
          <a:noFill/>
        </p:spPr>
        <p:txBody>
          <a:bodyPr lIns="0" tIns="0" rIns="0" bIns="0" anchor="t"/>
          <a:lstStyle>
            <a:lvl1pPr algn="l"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42900" y="2311400"/>
            <a:ext cx="6172200" cy="812800"/>
          </a:xfrm>
        </p:spPr>
        <p:txBody>
          <a:bodyPr/>
          <a:lstStyle>
            <a:lvl1pPr marL="0" indent="0">
              <a:buFont typeface="Times" pitchFamily="18" charset="0"/>
              <a:buNone/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7435761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400050" indent="-171450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BA4EF0-711A-4673-8300-CA76EFC60C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715302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E4987E-DA8D-46B4-95C4-5EA87F4747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29174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903288"/>
            <a:ext cx="3009900" cy="7469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55440B-3FF8-4F41-A062-F5D7BDFBA8E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217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7222ED-77B9-48BA-8AC9-CF42E067B48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F41AC2-E16E-427C-9085-472231386D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67087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AC4969-D850-4229-95DE-29350A7396B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93053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3B0E3D-FD7C-4F0C-B492-BCEA85AC8C7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4645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98D5D-EC3B-44B7-B91D-F56F36F0544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248564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2E5104-1082-44C0-A097-3196FB1E088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28282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5F5465-CA08-4E4E-9DB8-BCF0B72622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18079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06375"/>
            <a:ext cx="1543050" cy="8166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06375"/>
            <a:ext cx="4476750" cy="8166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E7D51-667B-4530-9190-D44427B20C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76073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6375"/>
            <a:ext cx="6172200" cy="5651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52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780A0C-60CB-403A-A046-6EE3EC7969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32039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6375"/>
            <a:ext cx="6172200" cy="5651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903288"/>
            <a:ext cx="3009900" cy="746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3505200" y="903288"/>
            <a:ext cx="3009900" cy="36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3505200" y="4713288"/>
            <a:ext cx="3009900" cy="3659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6496050" y="8763000"/>
            <a:ext cx="276225" cy="29368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17AF8D2-D8A1-4A4B-9052-478C2464D7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66957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F1E286-863E-443C-80DD-B1F1AE05C4A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3932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103.xml"/><Relationship Id="rId16" Type="http://schemas.openxmlformats.org/officeDocument/2006/relationships/tags" Target="../tags/tag21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tags" Target="../tags/tag20.xml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116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tags" Target="../tags/tag23.xml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tags" Target="../tags/tag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slideLayout" Target="../slideLayouts/slideLayout139.xml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17" Type="http://schemas.openxmlformats.org/officeDocument/2006/relationships/oleObject" Target="../embeddings/oleObject12.bin"/><Relationship Id="rId2" Type="http://schemas.openxmlformats.org/officeDocument/2006/relationships/slideLayout" Target="../slideLayouts/slideLayout128.xml"/><Relationship Id="rId16" Type="http://schemas.openxmlformats.org/officeDocument/2006/relationships/tags" Target="../tags/tag25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5" Type="http://schemas.openxmlformats.org/officeDocument/2006/relationships/tags" Target="../tags/tag24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image" Target="../media/image11.emf"/><Relationship Id="rId2" Type="http://schemas.openxmlformats.org/officeDocument/2006/relationships/slideLayout" Target="../slideLayouts/slideLayout141.xml"/><Relationship Id="rId16" Type="http://schemas.openxmlformats.org/officeDocument/2006/relationships/oleObject" Target="../embeddings/oleObject13.bin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5" Type="http://schemas.openxmlformats.org/officeDocument/2006/relationships/tags" Target="../tags/tag27.xml"/><Relationship Id="rId10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tags" Target="../tags/tag2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9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50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62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74.xml"/><Relationship Id="rId16" Type="http://schemas.openxmlformats.org/officeDocument/2006/relationships/tags" Target="../tags/tag15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tags" Target="../tags/tag14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87.xml"/><Relationship Id="rId16" Type="http://schemas.openxmlformats.org/officeDocument/2006/relationships/tags" Target="../tags/tag1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101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8680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180" imgH="180" progId="TCLayout.ActiveDocument.1">
                  <p:embed/>
                </p:oleObj>
              </mc:Choice>
              <mc:Fallback>
                <p:oleObj name="think-cell Slide" r:id="rId17" imgW="180" imgH="18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418704" cy="3385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  <a:ea typeface="MS PGothic"/>
              <a:cs typeface="+mj-cs"/>
              <a:sym typeface="Arial"/>
            </a:endParaRP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1055688"/>
            <a:ext cx="6172200" cy="548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1235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96050" y="8763000"/>
            <a:ext cx="2762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buFontTx/>
              <a:buNone/>
              <a:defRPr sz="1000" b="0">
                <a:ea typeface="+mn-ea"/>
              </a:defRPr>
            </a:lvl1pPr>
          </a:lstStyle>
          <a:p>
            <a:pPr>
              <a:defRPr/>
            </a:pPr>
            <a:fld id="{030428A3-DF4A-491F-8C8C-71D813A15F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31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366713"/>
            <a:ext cx="6172200" cy="5715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91302" tIns="45653" rIns="91302" bIns="4565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9pPr>
    </p:titleStyle>
    <p:bodyStyle>
      <a:lvl1pPr marL="223838" indent="-2238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614363" indent="-2206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2pPr>
      <a:lvl3pPr marL="903288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3pPr>
      <a:lvl4pPr marL="1185863" indent="-1682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4pPr>
      <a:lvl5pPr marL="1479550" indent="-1793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5pPr>
      <a:lvl6pPr marL="19367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6pPr>
      <a:lvl7pPr marL="23939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7pPr>
      <a:lvl8pPr marL="28511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8pPr>
      <a:lvl9pPr marL="33083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A8F890C-19AE-4016-8613-9432DA53BD1F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-12990" y="0"/>
            <a:ext cx="184731" cy="3077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903288"/>
            <a:ext cx="6172200" cy="7469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96050" y="8763000"/>
            <a:ext cx="2762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FontTx/>
              <a:buNone/>
              <a:defRPr sz="1000">
                <a:ea typeface="MS PGothic" pitchFamily="34" charset="-128"/>
              </a:defRPr>
            </a:lvl1pPr>
          </a:lstStyle>
          <a:p>
            <a:pPr>
              <a:defRPr/>
            </a:pPr>
            <a:fld id="{9FAAC388-93C6-427E-B9F2-E7ECAC37027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8" name="Rectangle 16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206375"/>
            <a:ext cx="6172200" cy="5651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4507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16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 pitchFamily="34" charset="-128"/>
        </a:defRPr>
      </a:lvl2pPr>
      <a:lvl3pPr marL="903288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▪"/>
        <a:defRPr sz="1400">
          <a:solidFill>
            <a:schemeClr val="tx1"/>
          </a:solidFill>
          <a:latin typeface="+mn-lt"/>
          <a:ea typeface="ＭＳ Ｐゴシック" pitchFamily="34" charset="-128"/>
        </a:defRPr>
      </a:lvl3pPr>
      <a:lvl4pPr marL="1185863" indent="-1682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1400">
          <a:solidFill>
            <a:schemeClr val="tx1"/>
          </a:solidFill>
          <a:latin typeface="+mn-lt"/>
          <a:ea typeface="ＭＳ Ｐゴシック" pitchFamily="34" charset="-128"/>
        </a:defRPr>
      </a:lvl4pPr>
      <a:lvl5pPr marL="1479550" indent="-1793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ＭＳ Ｐゴシック" pitchFamily="34" charset="-128"/>
        </a:defRPr>
      </a:lvl5pPr>
      <a:lvl6pPr marL="19367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6pPr>
      <a:lvl7pPr marL="23939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7pPr>
      <a:lvl8pPr marL="28511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8pPr>
      <a:lvl9pPr marL="33083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20E9D8-7750-42AA-837E-F035701D6D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180" imgH="180" progId="TCLayout.ActiveDocument.1">
                  <p:embed/>
                </p:oleObj>
              </mc:Choice>
              <mc:Fallback>
                <p:oleObj name="think-cell Slide" r:id="rId16" imgW="180" imgH="18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20E9D8-7750-42AA-837E-F035701D6D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C279E66-6B4A-45CE-B308-FCAE14D3AE2B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8211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1055688"/>
            <a:ext cx="6172200" cy="548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2112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366713"/>
            <a:ext cx="6172200" cy="5715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8211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96050" y="8763000"/>
            <a:ext cx="2762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DC922061-D85B-4216-B383-8AE029175930}" type="slidenum">
              <a:rPr lang="en-US" sz="1000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337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2pPr>
      <a:lvl3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3pPr>
      <a:lvl4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4pPr>
      <a:lvl5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9pPr>
    </p:titleStyle>
    <p:bodyStyle>
      <a:lvl1pPr marL="223838" indent="-2238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15950" indent="-22225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2pPr>
      <a:lvl3pPr marL="903288" indent="-17303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1185863" indent="-168275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4pPr>
      <a:lvl5pPr marL="14795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5pPr>
      <a:lvl6pPr marL="19367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3939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28511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3083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75543D8-6794-4E28-B7F2-4F547C291CFF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903288"/>
            <a:ext cx="6172200" cy="7469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96050" y="8763000"/>
            <a:ext cx="2762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FontTx/>
              <a:buNone/>
              <a:defRPr sz="1000">
                <a:ea typeface="MS PGothic" pitchFamily="34" charset="-128"/>
              </a:defRPr>
            </a:lvl1pPr>
          </a:lstStyle>
          <a:p>
            <a:pPr>
              <a:defRPr/>
            </a:pPr>
            <a:fld id="{9FAAC388-93C6-427E-B9F2-E7ECAC37027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8" name="Rectangle 16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206375"/>
            <a:ext cx="6172200" cy="5651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7540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16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 pitchFamily="34" charset="-128"/>
        </a:defRPr>
      </a:lvl2pPr>
      <a:lvl3pPr marL="903288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▪"/>
        <a:defRPr sz="1400">
          <a:solidFill>
            <a:schemeClr val="tx1"/>
          </a:solidFill>
          <a:latin typeface="+mn-lt"/>
          <a:ea typeface="ＭＳ Ｐゴシック" pitchFamily="34" charset="-128"/>
        </a:defRPr>
      </a:lvl3pPr>
      <a:lvl4pPr marL="1185863" indent="-1682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1400">
          <a:solidFill>
            <a:schemeClr val="tx1"/>
          </a:solidFill>
          <a:latin typeface="+mn-lt"/>
          <a:ea typeface="ＭＳ Ｐゴシック" pitchFamily="34" charset="-128"/>
        </a:defRPr>
      </a:lvl4pPr>
      <a:lvl5pPr marL="1479550" indent="-1793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ＭＳ Ｐゴシック" pitchFamily="34" charset="-128"/>
        </a:defRPr>
      </a:lvl5pPr>
      <a:lvl6pPr marL="19367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6pPr>
      <a:lvl7pPr marL="23939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7pPr>
      <a:lvl8pPr marL="28511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8pPr>
      <a:lvl9pPr marL="33083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C9E972-158D-47A5-9C25-ECC5DA49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42475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38" imgH="340" progId="TCLayout.ActiveDocument.1">
                  <p:embed/>
                </p:oleObj>
              </mc:Choice>
              <mc:Fallback>
                <p:oleObj name="think-cell Slide" r:id="rId16" imgW="338" imgH="34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C9E972-158D-47A5-9C25-ECC5DA49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23A2763-4B58-48FD-AC98-E5C0744FD1C4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US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MS PGothic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1055688"/>
            <a:ext cx="6172200" cy="7469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933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96050" y="8763000"/>
            <a:ext cx="2762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buFontTx/>
              <a:buNone/>
              <a:defRPr b="0">
                <a:ea typeface="ＭＳ Ｐゴシック" pitchFamily="34" charset="-128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7AFC3886-EC77-433D-AD03-CA8EDB9FA72E}" type="slidenum">
              <a:rPr lang="en-US" sz="100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366713"/>
            <a:ext cx="6172200" cy="5715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2317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  <p:sldLayoutId id="2147483953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+mj-lt"/>
          <a:ea typeface="MS PGothic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  <a:ea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  <a:ea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  <a:ea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  <a:ea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  <a:ea typeface="ＭＳ Ｐゴシック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  <a:ea typeface="ＭＳ Ｐゴシック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  <a:ea typeface="ＭＳ Ｐゴシック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  <a:ea typeface="ＭＳ Ｐゴシック" pitchFamily="34" charset="-128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14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400">
          <a:solidFill>
            <a:schemeClr val="tx1"/>
          </a:solidFill>
          <a:latin typeface="+mn-lt"/>
          <a:ea typeface="MS PGothic" pitchFamily="34" charset="-128"/>
        </a:defRPr>
      </a:lvl2pPr>
      <a:lvl3pPr marL="903288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▪"/>
        <a:defRPr sz="1200">
          <a:solidFill>
            <a:schemeClr val="tx1"/>
          </a:solidFill>
          <a:latin typeface="+mn-lt"/>
          <a:ea typeface="MS PGothic" pitchFamily="34" charset="-128"/>
        </a:defRPr>
      </a:lvl3pPr>
      <a:lvl4pPr marL="1185863" indent="-1682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1200">
          <a:solidFill>
            <a:schemeClr val="tx1"/>
          </a:solidFill>
          <a:latin typeface="+mn-lt"/>
          <a:ea typeface="MS PGothic" pitchFamily="34" charset="-128"/>
        </a:defRPr>
      </a:lvl4pPr>
      <a:lvl5pPr marL="1479550" indent="-1793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200">
          <a:solidFill>
            <a:schemeClr val="tx1"/>
          </a:solidFill>
          <a:latin typeface="+mn-lt"/>
          <a:ea typeface="MS PGothic" pitchFamily="34" charset="-128"/>
        </a:defRPr>
      </a:lvl5pPr>
      <a:lvl6pPr marL="19367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200">
          <a:solidFill>
            <a:schemeClr val="tx1"/>
          </a:solidFill>
          <a:latin typeface="+mn-lt"/>
          <a:ea typeface="+mn-ea"/>
        </a:defRPr>
      </a:lvl6pPr>
      <a:lvl7pPr marL="23939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200">
          <a:solidFill>
            <a:schemeClr val="tx1"/>
          </a:solidFill>
          <a:latin typeface="+mn-lt"/>
          <a:ea typeface="+mn-ea"/>
        </a:defRPr>
      </a:lvl7pPr>
      <a:lvl8pPr marL="28511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200">
          <a:solidFill>
            <a:schemeClr val="tx1"/>
          </a:solidFill>
          <a:latin typeface="+mn-lt"/>
          <a:ea typeface="+mn-ea"/>
        </a:defRPr>
      </a:lvl8pPr>
      <a:lvl9pPr marL="33083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58673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180" imgH="180" progId="TCLayout.ActiveDocument.1">
                  <p:embed/>
                </p:oleObj>
              </mc:Choice>
              <mc:Fallback>
                <p:oleObj name="think-cell Slide" r:id="rId15" imgW="180" imgH="18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418704" cy="3385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  <a:ea typeface="MS PGothic"/>
              <a:cs typeface="+mj-cs"/>
              <a:sym typeface="Arial"/>
            </a:endParaRPr>
          </a:p>
        </p:txBody>
      </p:sp>
      <p:sp>
        <p:nvSpPr>
          <p:cNvPr id="14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1055688"/>
            <a:ext cx="6172200" cy="548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2435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96050" y="8763000"/>
            <a:ext cx="2762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buFontTx/>
              <a:buNone/>
              <a:defRPr sz="1000" b="0">
                <a:latin typeface="Verdana" pitchFamily="34" charset="0"/>
                <a:ea typeface="+mn-ea"/>
              </a:defRPr>
            </a:lvl1pPr>
          </a:lstStyle>
          <a:p>
            <a:pPr>
              <a:defRPr/>
            </a:pPr>
            <a:fld id="{74D05222-AC6A-4532-8D6C-401592F104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366713"/>
            <a:ext cx="6172200" cy="5715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91302" tIns="45653" rIns="91302" bIns="4565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9pPr>
    </p:titleStyle>
    <p:bodyStyle>
      <a:lvl1pPr marL="223838" indent="-2238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14363" indent="-2206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2pPr>
      <a:lvl3pPr marL="903288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1185863" indent="-1682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4pPr>
      <a:lvl5pPr marL="1479550" indent="-1793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5pPr>
      <a:lvl6pPr marL="19367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3939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28511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3083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8350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180" imgH="180" progId="TCLayout.ActiveDocument.1">
                  <p:embed/>
                </p:oleObj>
              </mc:Choice>
              <mc:Fallback>
                <p:oleObj name="think-cell Slide" r:id="rId15" imgW="180" imgH="18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418704" cy="33855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  <a:ea typeface="MS PGothic"/>
              <a:cs typeface="+mj-cs"/>
              <a:sym typeface="Arial"/>
            </a:endParaRPr>
          </a:p>
        </p:txBody>
      </p:sp>
      <p:sp>
        <p:nvSpPr>
          <p:cNvPr id="1536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1055688"/>
            <a:ext cx="6172200" cy="548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3417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96050" y="8763000"/>
            <a:ext cx="2762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buFontTx/>
              <a:buNone/>
              <a:defRPr sz="1000" b="0">
                <a:ea typeface="+mn-ea"/>
              </a:defRPr>
            </a:lvl1pPr>
          </a:lstStyle>
          <a:p>
            <a:pPr>
              <a:defRPr/>
            </a:pPr>
            <a:fld id="{47C19184-7DEE-4B5D-B987-DCF50C0BE67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366713"/>
            <a:ext cx="6172200" cy="5715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91302" tIns="45653" rIns="91302" bIns="4565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MS PGothic" pitchFamily="34" charset="-128"/>
        </a:defRPr>
      </a:lvl9pPr>
    </p:titleStyle>
    <p:bodyStyle>
      <a:lvl1pPr marL="223838" indent="-2238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614363" indent="-2206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2pPr>
      <a:lvl3pPr marL="903288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3pPr>
      <a:lvl4pPr marL="1185863" indent="-1682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4pPr>
      <a:lvl5pPr marL="1479550" indent="-1793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5pPr>
      <a:lvl6pPr marL="19367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6pPr>
      <a:lvl7pPr marL="23939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7pPr>
      <a:lvl8pPr marL="28511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8pPr>
      <a:lvl9pPr marL="33083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3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66498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180" imgH="180" progId="TCLayout.ActiveDocument.1">
                  <p:embed/>
                </p:oleObj>
              </mc:Choice>
              <mc:Fallback>
                <p:oleObj name="think-cell Slide" r:id="rId17" imgW="180" imgH="18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6"/>
            </p:custDataLst>
          </p:nvPr>
        </p:nvSpPr>
        <p:spPr bwMode="auto">
          <a:xfrm>
            <a:off x="-12990" y="0"/>
            <a:ext cx="184731" cy="307777"/>
          </a:xfrm>
          <a:prstGeom prst="rect">
            <a:avLst/>
          </a:prstGeom>
          <a:noFill/>
          <a:ln w="25400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903288"/>
            <a:ext cx="6172200" cy="7469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96050" y="8763000"/>
            <a:ext cx="2762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FontTx/>
              <a:buNone/>
              <a:defRPr sz="1000">
                <a:ea typeface="MS PGothic" pitchFamily="34" charset="-128"/>
              </a:defRPr>
            </a:lvl1pPr>
          </a:lstStyle>
          <a:p>
            <a:pPr>
              <a:defRPr/>
            </a:pPr>
            <a:fld id="{9FAAC388-93C6-427E-B9F2-E7ECAC370274}" type="slidenum">
              <a:rPr lang="en-US" b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1028" name="Rectangle 16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206375"/>
            <a:ext cx="6172200" cy="5651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1669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16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 pitchFamily="34" charset="-128"/>
        </a:defRPr>
      </a:lvl2pPr>
      <a:lvl3pPr marL="903288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▪"/>
        <a:defRPr sz="1400">
          <a:solidFill>
            <a:schemeClr val="tx1"/>
          </a:solidFill>
          <a:latin typeface="+mn-lt"/>
          <a:ea typeface="ＭＳ Ｐゴシック" pitchFamily="34" charset="-128"/>
        </a:defRPr>
      </a:lvl3pPr>
      <a:lvl4pPr marL="1185863" indent="-1682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1400">
          <a:solidFill>
            <a:schemeClr val="tx1"/>
          </a:solidFill>
          <a:latin typeface="+mn-lt"/>
          <a:ea typeface="ＭＳ Ｐゴシック" pitchFamily="34" charset="-128"/>
        </a:defRPr>
      </a:lvl4pPr>
      <a:lvl5pPr marL="1479550" indent="-1793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ＭＳ Ｐゴシック" pitchFamily="34" charset="-128"/>
        </a:defRPr>
      </a:lvl5pPr>
      <a:lvl6pPr marL="19367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6pPr>
      <a:lvl7pPr marL="23939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7pPr>
      <a:lvl8pPr marL="28511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8pPr>
      <a:lvl9pPr marL="33083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20E9D8-7750-42AA-837E-F035701D6D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77499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180" imgH="180" progId="TCLayout.ActiveDocument.1">
                  <p:embed/>
                </p:oleObj>
              </mc:Choice>
              <mc:Fallback>
                <p:oleObj name="think-cell Slide" r:id="rId16" imgW="180" imgH="18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20E9D8-7750-42AA-837E-F035701D6D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C279E66-6B4A-45CE-B308-FCAE14D3AE2B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8211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1055688"/>
            <a:ext cx="6172200" cy="548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2112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366713"/>
            <a:ext cx="6172200" cy="5715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8211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96050" y="8763000"/>
            <a:ext cx="2762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DC922061-D85B-4216-B383-8AE029175930}" type="slidenum">
              <a:rPr lang="en-US" sz="1000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991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2pPr>
      <a:lvl3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3pPr>
      <a:lvl4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4pPr>
      <a:lvl5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9pPr>
    </p:titleStyle>
    <p:bodyStyle>
      <a:lvl1pPr marL="223838" indent="-2238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15950" indent="-22225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2pPr>
      <a:lvl3pPr marL="903288" indent="-17303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1185863" indent="-168275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4pPr>
      <a:lvl5pPr marL="14795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5pPr>
      <a:lvl6pPr marL="19367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3939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28511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3083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180" imgH="180" progId="TCLayout.ActiveDocument.1">
                  <p:embed/>
                </p:oleObj>
              </mc:Choice>
              <mc:Fallback>
                <p:oleObj name="think-cell Slide" r:id="rId16" imgW="180" imgH="18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28211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1055688"/>
            <a:ext cx="6172200" cy="548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2112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366713"/>
            <a:ext cx="6172200" cy="5715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8211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96050" y="8763000"/>
            <a:ext cx="2762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DC922061-D85B-4216-B383-8AE029175930}" type="slidenum">
              <a:rPr lang="en-US" sz="1000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274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2pPr>
      <a:lvl3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3pPr>
      <a:lvl4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4pPr>
      <a:lvl5pPr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9pPr>
    </p:titleStyle>
    <p:bodyStyle>
      <a:lvl1pPr marL="223838" indent="-2238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15950" indent="-22225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2pPr>
      <a:lvl3pPr marL="903288" indent="-17303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1185863" indent="-168275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4pPr>
      <a:lvl5pPr marL="14795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5pPr>
      <a:lvl6pPr marL="19367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3939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28511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3083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055139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A8F890C-19AE-4016-8613-9432DA53BD1F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-12990" y="0"/>
            <a:ext cx="184731" cy="3077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903288"/>
            <a:ext cx="6172200" cy="7469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96050" y="8763000"/>
            <a:ext cx="2762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FontTx/>
              <a:buNone/>
              <a:defRPr sz="1000">
                <a:ea typeface="MS PGothic" pitchFamily="34" charset="-128"/>
              </a:defRPr>
            </a:lvl1pPr>
          </a:lstStyle>
          <a:p>
            <a:pPr>
              <a:defRPr/>
            </a:pPr>
            <a:fld id="{9FAAC388-93C6-427E-B9F2-E7ECAC37027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8" name="Rectangle 16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206375"/>
            <a:ext cx="6172200" cy="5651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3834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6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16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 pitchFamily="34" charset="-128"/>
        </a:defRPr>
      </a:lvl2pPr>
      <a:lvl3pPr marL="903288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▪"/>
        <a:defRPr sz="1400">
          <a:solidFill>
            <a:schemeClr val="tx1"/>
          </a:solidFill>
          <a:latin typeface="+mn-lt"/>
          <a:ea typeface="ＭＳ Ｐゴシック" pitchFamily="34" charset="-128"/>
        </a:defRPr>
      </a:lvl3pPr>
      <a:lvl4pPr marL="1185863" indent="-1682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1400">
          <a:solidFill>
            <a:schemeClr val="tx1"/>
          </a:solidFill>
          <a:latin typeface="+mn-lt"/>
          <a:ea typeface="ＭＳ Ｐゴシック" pitchFamily="34" charset="-128"/>
        </a:defRPr>
      </a:lvl4pPr>
      <a:lvl5pPr marL="1479550" indent="-1793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ＭＳ Ｐゴシック" pitchFamily="34" charset="-128"/>
        </a:defRPr>
      </a:lvl5pPr>
      <a:lvl6pPr marL="19367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6pPr>
      <a:lvl7pPr marL="23939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7pPr>
      <a:lvl8pPr marL="28511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8pPr>
      <a:lvl9pPr marL="33083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86702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75543D8-6794-4E28-B7F2-4F547C291CFF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903288"/>
            <a:ext cx="6172200" cy="7469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96050" y="8763000"/>
            <a:ext cx="2762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buFontTx/>
              <a:buNone/>
              <a:defRPr sz="1000">
                <a:ea typeface="MS PGothic" pitchFamily="34" charset="-128"/>
              </a:defRPr>
            </a:lvl1pPr>
          </a:lstStyle>
          <a:p>
            <a:pPr>
              <a:defRPr/>
            </a:pPr>
            <a:fld id="{9FAAC388-93C6-427E-B9F2-E7ECAC37027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8" name="Rectangle 16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206375"/>
            <a:ext cx="6172200" cy="5651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2251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  <a:ea typeface="MS PGothic" pitchFamily="34" charset="-128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16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5715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 pitchFamily="34" charset="-128"/>
        </a:defRPr>
      </a:lvl2pPr>
      <a:lvl3pPr marL="903288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▪"/>
        <a:defRPr sz="1400">
          <a:solidFill>
            <a:schemeClr val="tx1"/>
          </a:solidFill>
          <a:latin typeface="+mn-lt"/>
          <a:ea typeface="ＭＳ Ｐゴシック" pitchFamily="34" charset="-128"/>
        </a:defRPr>
      </a:lvl3pPr>
      <a:lvl4pPr marL="1185863" indent="-1682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1400">
          <a:solidFill>
            <a:schemeClr val="tx1"/>
          </a:solidFill>
          <a:latin typeface="+mn-lt"/>
          <a:ea typeface="ＭＳ Ｐゴシック" pitchFamily="34" charset="-128"/>
        </a:defRPr>
      </a:lvl4pPr>
      <a:lvl5pPr marL="1479550" indent="-1793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ＭＳ Ｐゴシック" pitchFamily="34" charset="-128"/>
        </a:defRPr>
      </a:lvl5pPr>
      <a:lvl6pPr marL="19367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6pPr>
      <a:lvl7pPr marL="23939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7pPr>
      <a:lvl8pPr marL="28511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8pPr>
      <a:lvl9pPr marL="33083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▫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48A282-D1BE-4811-A899-394A33BC2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73134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48A282-D1BE-4811-A899-394A33BC2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E01D8D8-0605-4246-A177-3EAF328D2596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panose="020B0600070205080204" pitchFamily="34" charset="-128"/>
              <a:cs typeface="Arial" charset="0"/>
              <a:sym typeface="Arial" panose="020B0604020202020204" pitchFamily="34" charset="0"/>
            </a:endParaRPr>
          </a:p>
        </p:txBody>
      </p:sp>
      <p:sp>
        <p:nvSpPr>
          <p:cNvPr id="245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1055688"/>
            <a:ext cx="6172200" cy="548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2112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73838" y="8851900"/>
            <a:ext cx="2762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latin typeface="Arial" pitchFamily="34" charset="0"/>
                <a:ea typeface="ＭＳ Ｐゴシック"/>
                <a:cs typeface="Arial" pitchFamily="34" charset="0"/>
              </a:defRPr>
            </a:lvl1pPr>
          </a:lstStyle>
          <a:p>
            <a:pPr>
              <a:buFontTx/>
              <a:buNone/>
              <a:defRPr/>
            </a:pPr>
            <a:fld id="{6E32D0B9-CD55-4C31-9D2F-C747090BC6E8}" type="slidenum">
              <a:rPr lang="en-US">
                <a:solidFill>
                  <a:srgbClr val="000000"/>
                </a:solidFill>
              </a:rPr>
              <a:pPr>
                <a:buFontTx/>
                <a:buNone/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5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366713"/>
            <a:ext cx="6172200" cy="5715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8788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+mj-lt"/>
          <a:ea typeface="ＭＳ Ｐゴシック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pitchFamily="34" charset="-128"/>
        </a:defRPr>
      </a:lvl9pPr>
    </p:titleStyle>
    <p:bodyStyle>
      <a:lvl1pPr marL="223838" indent="-2238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imes" pitchFamily="18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1pPr>
      <a:lvl2pPr marL="615950" indent="-2222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903288" indent="-1730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1185863" indent="-1682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1479550" indent="-1793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19367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6pPr>
      <a:lvl7pPr marL="23939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7pPr>
      <a:lvl8pPr marL="28511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8pPr>
      <a:lvl9pPr marL="3308350" indent="-179388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5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180" imgH="180" progId="TCLayout.ActiveDocument.1">
                  <p:embed/>
                </p:oleObj>
              </mc:Choice>
              <mc:Fallback>
                <p:oleObj name="think-cell Slide" r:id="rId5" imgW="180" imgH="18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en-US" sz="24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296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1245421"/>
            <a:ext cx="5726152" cy="1727200"/>
          </a:xfrm>
          <a:noFill/>
        </p:spPr>
        <p:txBody>
          <a:bodyPr vert="horz" lIns="92075" tIns="46038" rIns="92075" bIns="46038" anchor="ctr"/>
          <a:lstStyle/>
          <a:p>
            <a:pPr>
              <a:spcBef>
                <a:spcPct val="20000"/>
              </a:spcBef>
              <a:defRPr/>
            </a:pPr>
            <a:r>
              <a:rPr lang="en-US" sz="3200" dirty="0">
                <a:solidFill>
                  <a:srgbClr val="000000"/>
                </a:solidFill>
              </a:rPr>
              <a:t>Airline Training Program Outline</a:t>
            </a:r>
            <a:br>
              <a:rPr lang="en-US" sz="3200" dirty="0">
                <a:solidFill>
                  <a:srgbClr val="000000"/>
                </a:solidFill>
              </a:rPr>
            </a:br>
            <a:endParaRPr lang="en-US" sz="2400" dirty="0"/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 bwMode="auto">
          <a:xfrm>
            <a:off x="228600" y="3429000"/>
            <a:ext cx="5638800" cy="81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algn="l" fontAlgn="base"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Times" pitchFamily="18" charset="0"/>
              <a:buNone/>
              <a:defRPr/>
            </a:pPr>
            <a:r>
              <a:rPr lang="en-US" sz="2000" kern="0" dirty="0"/>
              <a:t>May 3, 2023</a:t>
            </a:r>
            <a:endParaRPr lang="en-US" sz="2000" b="1" u="none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611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CB5B0-F360-7540-1E73-DA5D9708EE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200722"/>
            <a:ext cx="6172200" cy="737491"/>
          </a:xfrm>
        </p:spPr>
        <p:txBody>
          <a:bodyPr/>
          <a:lstStyle/>
          <a:p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. Railway labor Act: Group A – RLA History, Structure and Bargaining Process (Luby, Esposito, Dowling)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D1107B6-6A22-83C0-1B8F-10457135C8AE}"/>
              </a:ext>
            </a:extLst>
          </p:cNvPr>
          <p:cNvSpPr txBox="1"/>
          <p:nvPr/>
        </p:nvSpPr>
        <p:spPr>
          <a:xfrm>
            <a:off x="342900" y="1338148"/>
            <a:ext cx="6158261" cy="51741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</a:pP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story</a:t>
            </a:r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Great Railroad Strike of 1877</a:t>
            </a:r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WI and Federal takeover of the Railroads</a:t>
            </a:r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iled government legislation pre-RLA</a:t>
            </a:r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Then you do it”: Labor-management negotiated compromise of the RLA 1926</a:t>
            </a:r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y Amendments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</a:pPr>
            <a:endParaRPr lang="en-US" sz="1200" b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UcPeriod" startAt="2"/>
            </a:pP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cture</a:t>
            </a:r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amework intended to promote stable labor relations via a comprehensive framework for resolving disputes</a:t>
            </a:r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 main types of disputes</a:t>
            </a:r>
          </a:p>
          <a:p>
            <a:pPr marL="120015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king agreements</a:t>
            </a:r>
          </a:p>
          <a:p>
            <a:pPr marL="120015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preting agreements</a:t>
            </a:r>
          </a:p>
          <a:p>
            <a:pPr marL="120015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resentational issues</a:t>
            </a:r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le of the NMB</a:t>
            </a:r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le of the Courts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</a:pPr>
            <a:endParaRPr lang="en-US" sz="1200" b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UcPeriod" startAt="3"/>
            </a:pP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rgaining Process</a:t>
            </a:r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cess Outline</a:t>
            </a:r>
          </a:p>
          <a:p>
            <a:pPr marL="120015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rect</a:t>
            </a:r>
          </a:p>
          <a:p>
            <a:pPr marL="120015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iation</a:t>
            </a:r>
          </a:p>
          <a:p>
            <a:pPr marL="120015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lease (Proffer of arbitration)/Cooling off period</a:t>
            </a:r>
          </a:p>
          <a:p>
            <a:pPr marL="120015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lf-help/PEB</a:t>
            </a:r>
          </a:p>
          <a:p>
            <a:pPr marL="1200150" lvl="2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lf-help/Congressional action</a:t>
            </a:r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w bargaining works in practice</a:t>
            </a:r>
          </a:p>
          <a:p>
            <a:pPr marL="800100" lvl="1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Calibri" panose="020F0502020204030204" pitchFamily="34" charset="0"/>
              <a:buChar char="-"/>
            </a:pPr>
            <a:r>
              <a:rPr lang="en-US" sz="12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melines</a:t>
            </a:r>
          </a:p>
        </p:txBody>
      </p:sp>
    </p:spTree>
    <p:extLst>
      <p:ext uri="{BB962C8B-B14F-4D97-AF65-F5344CB8AC3E}">
        <p14:creationId xmlns:p14="http://schemas.microsoft.com/office/powerpoint/2010/main" val="3600638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svEnIEnnPO6jwbWarH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5_fgegxn_CTurBJWFp.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bVwSG1OCbylvPkP.zJz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VDjvq49v0lQT.HrupC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McRQOHj0g5Qfz4EFWk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bVwSG1OCbylvPkP.zJ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svEnIEnnPO6jwbWarH0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VDjvq49v0lQT.HrupC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mgc.fpVheG0JBpufsg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qcNyATpej7YrobpsN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WcGv11xclvtqqpV378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Wh_miyyEjiPbq9ILaB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D2eL9YbD2PatgdEGdd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2k9tBT.edLcO5O9drNMA"/>
</p:tagLst>
</file>

<file path=ppt/theme/theme1.xml><?xml version="1.0" encoding="utf-8"?>
<a:theme xmlns:a="http://schemas.openxmlformats.org/drawingml/2006/main" name="1_Blank Presentation">
  <a:themeElements>
    <a:clrScheme name="">
      <a:dk1>
        <a:srgbClr val="000000"/>
      </a:dk1>
      <a:lt1>
        <a:srgbClr val="FFFFFF"/>
      </a:lt1>
      <a:dk2>
        <a:srgbClr val="C01933"/>
      </a:dk2>
      <a:lt2>
        <a:srgbClr val="808080"/>
      </a:lt2>
      <a:accent1>
        <a:srgbClr val="003366"/>
      </a:accent1>
      <a:accent2>
        <a:srgbClr val="E01933"/>
      </a:accent2>
      <a:accent3>
        <a:srgbClr val="FFFFFF"/>
      </a:accent3>
      <a:accent4>
        <a:srgbClr val="000000"/>
      </a:accent4>
      <a:accent5>
        <a:srgbClr val="AAADB8"/>
      </a:accent5>
      <a:accent6>
        <a:srgbClr val="CB162D"/>
      </a:accent6>
      <a:hlink>
        <a:srgbClr val="991933"/>
      </a:hlink>
      <a:folHlink>
        <a:srgbClr val="002A50"/>
      </a:folHlink>
    </a:clrScheme>
    <a:fontScheme name="1_Blank Presentation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ebdings" pitchFamily="18" charset="2"/>
          <a:buChar char="ñ"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ebdings" pitchFamily="18" charset="2"/>
          <a:buChar char="ñ"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default">
  <a:themeElements>
    <a:clrScheme name="">
      <a:dk1>
        <a:srgbClr val="000000"/>
      </a:dk1>
      <a:lt1>
        <a:srgbClr val="FFFFFF"/>
      </a:lt1>
      <a:dk2>
        <a:srgbClr val="C01933"/>
      </a:dk2>
      <a:lt2>
        <a:srgbClr val="808080"/>
      </a:lt2>
      <a:accent1>
        <a:srgbClr val="003366"/>
      </a:accent1>
      <a:accent2>
        <a:srgbClr val="E01933"/>
      </a:accent2>
      <a:accent3>
        <a:srgbClr val="FFFFFF"/>
      </a:accent3>
      <a:accent4>
        <a:srgbClr val="000000"/>
      </a:accent4>
      <a:accent5>
        <a:srgbClr val="AAADB8"/>
      </a:accent5>
      <a:accent6>
        <a:srgbClr val="CB162D"/>
      </a:accent6>
      <a:hlink>
        <a:srgbClr val="991933"/>
      </a:hlink>
      <a:folHlink>
        <a:srgbClr val="002A50"/>
      </a:folHlink>
    </a:clrScheme>
    <a:fontScheme name="default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7_Blank Presentation">
  <a:themeElements>
    <a:clrScheme name="">
      <a:dk1>
        <a:srgbClr val="000000"/>
      </a:dk1>
      <a:lt1>
        <a:srgbClr val="FFFFFF"/>
      </a:lt1>
      <a:dk2>
        <a:srgbClr val="C01933"/>
      </a:dk2>
      <a:lt2>
        <a:srgbClr val="808080"/>
      </a:lt2>
      <a:accent1>
        <a:srgbClr val="003366"/>
      </a:accent1>
      <a:accent2>
        <a:srgbClr val="E01933"/>
      </a:accent2>
      <a:accent3>
        <a:srgbClr val="FFFFFF"/>
      </a:accent3>
      <a:accent4>
        <a:srgbClr val="000000"/>
      </a:accent4>
      <a:accent5>
        <a:srgbClr val="AAADB8"/>
      </a:accent5>
      <a:accent6>
        <a:srgbClr val="CB162D"/>
      </a:accent6>
      <a:hlink>
        <a:srgbClr val="991933"/>
      </a:hlink>
      <a:folHlink>
        <a:srgbClr val="002A5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b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b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4_default">
  <a:themeElements>
    <a:clrScheme name="">
      <a:dk1>
        <a:srgbClr val="000000"/>
      </a:dk1>
      <a:lt1>
        <a:srgbClr val="FFFFFF"/>
      </a:lt1>
      <a:dk2>
        <a:srgbClr val="C01933"/>
      </a:dk2>
      <a:lt2>
        <a:srgbClr val="808080"/>
      </a:lt2>
      <a:accent1>
        <a:srgbClr val="003366"/>
      </a:accent1>
      <a:accent2>
        <a:srgbClr val="E01933"/>
      </a:accent2>
      <a:accent3>
        <a:srgbClr val="FFFFFF"/>
      </a:accent3>
      <a:accent4>
        <a:srgbClr val="000000"/>
      </a:accent4>
      <a:accent5>
        <a:srgbClr val="AAADB8"/>
      </a:accent5>
      <a:accent6>
        <a:srgbClr val="CB162D"/>
      </a:accent6>
      <a:hlink>
        <a:srgbClr val="991933"/>
      </a:hlink>
      <a:folHlink>
        <a:srgbClr val="002A50"/>
      </a:folHlink>
    </a:clrScheme>
    <a:fontScheme name="default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3_BOD template (2009)">
  <a:themeElements>
    <a:clrScheme name="1_BOD template (2009) 13">
      <a:dk1>
        <a:srgbClr val="000000"/>
      </a:dk1>
      <a:lt1>
        <a:srgbClr val="FFFFFF"/>
      </a:lt1>
      <a:dk2>
        <a:srgbClr val="C01933"/>
      </a:dk2>
      <a:lt2>
        <a:srgbClr val="808080"/>
      </a:lt2>
      <a:accent1>
        <a:srgbClr val="003366"/>
      </a:accent1>
      <a:accent2>
        <a:srgbClr val="E01933"/>
      </a:accent2>
      <a:accent3>
        <a:srgbClr val="FFFFFF"/>
      </a:accent3>
      <a:accent4>
        <a:srgbClr val="000000"/>
      </a:accent4>
      <a:accent5>
        <a:srgbClr val="AAADB8"/>
      </a:accent5>
      <a:accent6>
        <a:srgbClr val="CB162D"/>
      </a:accent6>
      <a:hlink>
        <a:srgbClr val="991933"/>
      </a:hlink>
      <a:folHlink>
        <a:srgbClr val="002A50"/>
      </a:folHlink>
    </a:clrScheme>
    <a:fontScheme name="1_BOD template (2009)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1_BOD template (2009)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OD template (2009)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OD template (2009)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OD template (2009)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OD template (2009)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OD template (2009)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OD template (2009)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OD template (2009)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OD template (2009)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OD template (2009)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OD template (2009)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OD template (2009)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OD template (2009) 13">
        <a:dk1>
          <a:srgbClr val="000000"/>
        </a:dk1>
        <a:lt1>
          <a:srgbClr val="FFFFFF"/>
        </a:lt1>
        <a:dk2>
          <a:srgbClr val="C01933"/>
        </a:dk2>
        <a:lt2>
          <a:srgbClr val="808080"/>
        </a:lt2>
        <a:accent1>
          <a:srgbClr val="003366"/>
        </a:accent1>
        <a:accent2>
          <a:srgbClr val="E01933"/>
        </a:accent2>
        <a:accent3>
          <a:srgbClr val="FFFFFF"/>
        </a:accent3>
        <a:accent4>
          <a:srgbClr val="000000"/>
        </a:accent4>
        <a:accent5>
          <a:srgbClr val="AAADB8"/>
        </a:accent5>
        <a:accent6>
          <a:srgbClr val="CB162D"/>
        </a:accent6>
        <a:hlink>
          <a:srgbClr val="991933"/>
        </a:hlink>
        <a:folHlink>
          <a:srgbClr val="002A5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Blank Presentation">
  <a:themeElements>
    <a:clrScheme name="">
      <a:dk1>
        <a:srgbClr val="000000"/>
      </a:dk1>
      <a:lt1>
        <a:srgbClr val="FFFFFF"/>
      </a:lt1>
      <a:dk2>
        <a:srgbClr val="C01933"/>
      </a:dk2>
      <a:lt2>
        <a:srgbClr val="808080"/>
      </a:lt2>
      <a:accent1>
        <a:srgbClr val="003366"/>
      </a:accent1>
      <a:accent2>
        <a:srgbClr val="E01933"/>
      </a:accent2>
      <a:accent3>
        <a:srgbClr val="FFFFFF"/>
      </a:accent3>
      <a:accent4>
        <a:srgbClr val="000000"/>
      </a:accent4>
      <a:accent5>
        <a:srgbClr val="AAADB8"/>
      </a:accent5>
      <a:accent6>
        <a:srgbClr val="CB162D"/>
      </a:accent6>
      <a:hlink>
        <a:srgbClr val="991933"/>
      </a:hlink>
      <a:folHlink>
        <a:srgbClr val="002A50"/>
      </a:folHlink>
    </a:clrScheme>
    <a:fontScheme name="2_Blank Presentation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ebdings" pitchFamily="18" charset="2"/>
          <a:buChar char="ñ"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ebdings" pitchFamily="18" charset="2"/>
          <a:buChar char="ñ"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Blank Presentation">
  <a:themeElements>
    <a:clrScheme name="">
      <a:dk1>
        <a:srgbClr val="000000"/>
      </a:dk1>
      <a:lt1>
        <a:srgbClr val="FFFFFF"/>
      </a:lt1>
      <a:dk2>
        <a:srgbClr val="C01933"/>
      </a:dk2>
      <a:lt2>
        <a:srgbClr val="808080"/>
      </a:lt2>
      <a:accent1>
        <a:srgbClr val="003366"/>
      </a:accent1>
      <a:accent2>
        <a:srgbClr val="E01933"/>
      </a:accent2>
      <a:accent3>
        <a:srgbClr val="FFFFFF"/>
      </a:accent3>
      <a:accent4>
        <a:srgbClr val="000000"/>
      </a:accent4>
      <a:accent5>
        <a:srgbClr val="AAADB8"/>
      </a:accent5>
      <a:accent6>
        <a:srgbClr val="CB162D"/>
      </a:accent6>
      <a:hlink>
        <a:srgbClr val="991933"/>
      </a:hlink>
      <a:folHlink>
        <a:srgbClr val="002A50"/>
      </a:folHlink>
    </a:clrScheme>
    <a:fontScheme name="4_Blank Presentation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ebdings" pitchFamily="18" charset="2"/>
          <a:buChar char="ñ"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ebdings" pitchFamily="18" charset="2"/>
          <a:buChar char="ñ"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4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default">
  <a:themeElements>
    <a:clrScheme name="">
      <a:dk1>
        <a:srgbClr val="000000"/>
      </a:dk1>
      <a:lt1>
        <a:srgbClr val="FFFFFF"/>
      </a:lt1>
      <a:dk2>
        <a:srgbClr val="C01933"/>
      </a:dk2>
      <a:lt2>
        <a:srgbClr val="808080"/>
      </a:lt2>
      <a:accent1>
        <a:srgbClr val="003366"/>
      </a:accent1>
      <a:accent2>
        <a:srgbClr val="E01933"/>
      </a:accent2>
      <a:accent3>
        <a:srgbClr val="FFFFFF"/>
      </a:accent3>
      <a:accent4>
        <a:srgbClr val="000000"/>
      </a:accent4>
      <a:accent5>
        <a:srgbClr val="AAADB8"/>
      </a:accent5>
      <a:accent6>
        <a:srgbClr val="CB162D"/>
      </a:accent6>
      <a:hlink>
        <a:srgbClr val="991933"/>
      </a:hlink>
      <a:folHlink>
        <a:srgbClr val="002A50"/>
      </a:folHlink>
    </a:clrScheme>
    <a:fontScheme name="default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 cap="flat" cmpd="sng" algn="ctr">
          <a:solidFill>
            <a:schemeClr val="accent2"/>
          </a:solidFill>
          <a:prstDash val="dash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Blank Presentation">
  <a:themeElements>
    <a:clrScheme name="">
      <a:dk1>
        <a:srgbClr val="000000"/>
      </a:dk1>
      <a:lt1>
        <a:srgbClr val="FFFFFF"/>
      </a:lt1>
      <a:dk2>
        <a:srgbClr val="C01933"/>
      </a:dk2>
      <a:lt2>
        <a:srgbClr val="808080"/>
      </a:lt2>
      <a:accent1>
        <a:srgbClr val="003366"/>
      </a:accent1>
      <a:accent2>
        <a:srgbClr val="E01933"/>
      </a:accent2>
      <a:accent3>
        <a:srgbClr val="FFFFFF"/>
      </a:accent3>
      <a:accent4>
        <a:srgbClr val="000000"/>
      </a:accent4>
      <a:accent5>
        <a:srgbClr val="AAADB8"/>
      </a:accent5>
      <a:accent6>
        <a:srgbClr val="CB162D"/>
      </a:accent6>
      <a:hlink>
        <a:srgbClr val="991933"/>
      </a:hlink>
      <a:folHlink>
        <a:srgbClr val="002A5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b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b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Blank Presentation">
  <a:themeElements>
    <a:clrScheme name="">
      <a:dk1>
        <a:srgbClr val="000000"/>
      </a:dk1>
      <a:lt1>
        <a:srgbClr val="FFFFFF"/>
      </a:lt1>
      <a:dk2>
        <a:srgbClr val="C01933"/>
      </a:dk2>
      <a:lt2>
        <a:srgbClr val="808080"/>
      </a:lt2>
      <a:accent1>
        <a:srgbClr val="003366"/>
      </a:accent1>
      <a:accent2>
        <a:srgbClr val="E01933"/>
      </a:accent2>
      <a:accent3>
        <a:srgbClr val="FFFFFF"/>
      </a:accent3>
      <a:accent4>
        <a:srgbClr val="000000"/>
      </a:accent4>
      <a:accent5>
        <a:srgbClr val="AAADB8"/>
      </a:accent5>
      <a:accent6>
        <a:srgbClr val="CB162D"/>
      </a:accent6>
      <a:hlink>
        <a:srgbClr val="991933"/>
      </a:hlink>
      <a:folHlink>
        <a:srgbClr val="002A5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b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b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default">
  <a:themeElements>
    <a:clrScheme name="">
      <a:dk1>
        <a:srgbClr val="000000"/>
      </a:dk1>
      <a:lt1>
        <a:srgbClr val="FFFFFF"/>
      </a:lt1>
      <a:dk2>
        <a:srgbClr val="C01933"/>
      </a:dk2>
      <a:lt2>
        <a:srgbClr val="808080"/>
      </a:lt2>
      <a:accent1>
        <a:srgbClr val="003366"/>
      </a:accent1>
      <a:accent2>
        <a:srgbClr val="E01933"/>
      </a:accent2>
      <a:accent3>
        <a:srgbClr val="FFFFFF"/>
      </a:accent3>
      <a:accent4>
        <a:srgbClr val="000000"/>
      </a:accent4>
      <a:accent5>
        <a:srgbClr val="AAADB8"/>
      </a:accent5>
      <a:accent6>
        <a:srgbClr val="CB162D"/>
      </a:accent6>
      <a:hlink>
        <a:srgbClr val="991933"/>
      </a:hlink>
      <a:folHlink>
        <a:srgbClr val="002A50"/>
      </a:folHlink>
    </a:clrScheme>
    <a:fontScheme name="default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_default">
  <a:themeElements>
    <a:clrScheme name="">
      <a:dk1>
        <a:srgbClr val="000000"/>
      </a:dk1>
      <a:lt1>
        <a:srgbClr val="FFFFFF"/>
      </a:lt1>
      <a:dk2>
        <a:srgbClr val="C01933"/>
      </a:dk2>
      <a:lt2>
        <a:srgbClr val="808080"/>
      </a:lt2>
      <a:accent1>
        <a:srgbClr val="003366"/>
      </a:accent1>
      <a:accent2>
        <a:srgbClr val="E01933"/>
      </a:accent2>
      <a:accent3>
        <a:srgbClr val="FFFFFF"/>
      </a:accent3>
      <a:accent4>
        <a:srgbClr val="000000"/>
      </a:accent4>
      <a:accent5>
        <a:srgbClr val="AAADB8"/>
      </a:accent5>
      <a:accent6>
        <a:srgbClr val="CB162D"/>
      </a:accent6>
      <a:hlink>
        <a:srgbClr val="991933"/>
      </a:hlink>
      <a:folHlink>
        <a:srgbClr val="002A50"/>
      </a:folHlink>
    </a:clrScheme>
    <a:fontScheme name="default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6_Blank Presentation">
  <a:themeElements>
    <a:clrScheme name="">
      <a:dk1>
        <a:srgbClr val="000000"/>
      </a:dk1>
      <a:lt1>
        <a:srgbClr val="FFFFFF"/>
      </a:lt1>
      <a:dk2>
        <a:srgbClr val="C01933"/>
      </a:dk2>
      <a:lt2>
        <a:srgbClr val="808080"/>
      </a:lt2>
      <a:accent1>
        <a:srgbClr val="003366"/>
      </a:accent1>
      <a:accent2>
        <a:srgbClr val="E01933"/>
      </a:accent2>
      <a:accent3>
        <a:srgbClr val="FFFFFF"/>
      </a:accent3>
      <a:accent4>
        <a:srgbClr val="000000"/>
      </a:accent4>
      <a:accent5>
        <a:srgbClr val="AAADB8"/>
      </a:accent5>
      <a:accent6>
        <a:srgbClr val="CB162D"/>
      </a:accent6>
      <a:hlink>
        <a:srgbClr val="991933"/>
      </a:hlink>
      <a:folHlink>
        <a:srgbClr val="002A50"/>
      </a:folHlink>
    </a:clrScheme>
    <a:fontScheme name="2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430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430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2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8944812B99147A86721973B6C0E86" ma:contentTypeVersion="13" ma:contentTypeDescription="Create a new document." ma:contentTypeScope="" ma:versionID="5f76faf439097562b39824fb72648b9e">
  <xsd:schema xmlns:xsd="http://www.w3.org/2001/XMLSchema" xmlns:xs="http://www.w3.org/2001/XMLSchema" xmlns:p="http://schemas.microsoft.com/office/2006/metadata/properties" xmlns:ns2="956a3c55-baf7-42f6-86b0-9467cd5ec086" xmlns:ns3="ba93c9fb-d7c3-4653-9274-7da9a4a0c6c5" targetNamespace="http://schemas.microsoft.com/office/2006/metadata/properties" ma:root="true" ma:fieldsID="4faaac35117e84a4432e7c0340535cb7" ns2:_="" ns3:_="">
    <xsd:import namespace="956a3c55-baf7-42f6-86b0-9467cd5ec086"/>
    <xsd:import namespace="ba93c9fb-d7c3-4653-9274-7da9a4a0c6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6a3c55-baf7-42f6-86b0-9467cd5ec0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f03611b4-51c1-4ca1-b85c-c786090b79e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93c9fb-d7c3-4653-9274-7da9a4a0c6c5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858a2b7a-45ea-4d01-8715-97f16d189ecf}" ma:internalName="TaxCatchAll" ma:showField="CatchAllData" ma:web="ba93c9fb-d7c3-4653-9274-7da9a4a0c6c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9E422A4-DF1C-478D-B773-DEA88592E7AC}"/>
</file>

<file path=customXml/itemProps2.xml><?xml version="1.0" encoding="utf-8"?>
<ds:datastoreItem xmlns:ds="http://schemas.openxmlformats.org/officeDocument/2006/customXml" ds:itemID="{3604B85D-F802-4F25-A92F-B92E1968B1FA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2164</TotalTime>
  <Words>128</Words>
  <Application>Microsoft Office PowerPoint</Application>
  <PresentationFormat>On-screen Show (4:3)</PresentationFormat>
  <Paragraphs>29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23" baseType="lpstr">
      <vt:lpstr>Arial</vt:lpstr>
      <vt:lpstr>Calibri</vt:lpstr>
      <vt:lpstr>Courier New</vt:lpstr>
      <vt:lpstr>Times</vt:lpstr>
      <vt:lpstr>Verdana</vt:lpstr>
      <vt:lpstr>Webdings</vt:lpstr>
      <vt:lpstr>Wingdings</vt:lpstr>
      <vt:lpstr>1_Blank Presentation</vt:lpstr>
      <vt:lpstr>2_Blank Presentation</vt:lpstr>
      <vt:lpstr>4_Blank Presentation</vt:lpstr>
      <vt:lpstr>default</vt:lpstr>
      <vt:lpstr>3_Blank Presentation</vt:lpstr>
      <vt:lpstr>5_Blank Presentation</vt:lpstr>
      <vt:lpstr>1_default</vt:lpstr>
      <vt:lpstr>2_default</vt:lpstr>
      <vt:lpstr>6_Blank Presentation</vt:lpstr>
      <vt:lpstr>3_default</vt:lpstr>
      <vt:lpstr>7_Blank Presentation</vt:lpstr>
      <vt:lpstr>4_default</vt:lpstr>
      <vt:lpstr>3_BOD template (2009)</vt:lpstr>
      <vt:lpstr>think-cell Slide</vt:lpstr>
      <vt:lpstr>Airline Training Program Outline </vt:lpstr>
      <vt:lpstr>I. Railway labor Act: Group A – RLA History, Structure and Bargaining Process (Luby, Esposito, Dowling)</vt:lpstr>
    </vt:vector>
  </TitlesOfParts>
  <Company>Delta Air Lin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light Operations Review March 2005</dc:title>
  <dc:creator>Jill Caskey</dc:creator>
  <cp:lastModifiedBy>Esposito, Marc</cp:lastModifiedBy>
  <cp:revision>4954</cp:revision>
  <cp:lastPrinted>2021-12-16T17:54:26Z</cp:lastPrinted>
  <dcterms:created xsi:type="dcterms:W3CDTF">2005-04-13T15:11:42Z</dcterms:created>
  <dcterms:modified xsi:type="dcterms:W3CDTF">2023-04-25T12:46:58Z</dcterms:modified>
</cp:coreProperties>
</file>